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5"/>
  </p:sldMasterIdLst>
  <p:notesMasterIdLst>
    <p:notesMasterId r:id="rId19"/>
  </p:notesMasterIdLst>
  <p:handoutMasterIdLst>
    <p:handoutMasterId r:id="rId20"/>
  </p:handoutMasterIdLst>
  <p:sldIdLst>
    <p:sldId id="410" r:id="rId6"/>
    <p:sldId id="268" r:id="rId7"/>
    <p:sldId id="277" r:id="rId8"/>
    <p:sldId id="261" r:id="rId9"/>
    <p:sldId id="276" r:id="rId10"/>
    <p:sldId id="290" r:id="rId11"/>
    <p:sldId id="271" r:id="rId12"/>
    <p:sldId id="273" r:id="rId13"/>
    <p:sldId id="272" r:id="rId14"/>
    <p:sldId id="274" r:id="rId15"/>
    <p:sldId id="262" r:id="rId16"/>
    <p:sldId id="293" r:id="rId17"/>
    <p:sldId id="411" r:id="rId18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8" pos="5472">
          <p15:clr>
            <a:srgbClr val="A4A3A4"/>
          </p15:clr>
        </p15:guide>
        <p15:guide id="9" pos="436">
          <p15:clr>
            <a:srgbClr val="A4A3A4"/>
          </p15:clr>
        </p15:guide>
        <p15:guide id="10" orient="horz" pos="16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24242"/>
    <a:srgbClr val="0066F5"/>
    <a:srgbClr val="000000"/>
    <a:srgbClr val="ADADAD"/>
    <a:srgbClr val="003C71"/>
    <a:srgbClr val="FCAE00"/>
    <a:srgbClr val="B0D623"/>
    <a:srgbClr val="009104"/>
    <a:srgbClr val="EEEEEE"/>
    <a:srgbClr val="FFE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209" autoAdjust="0"/>
    <p:restoredTop sz="90943" autoAdjust="0"/>
  </p:normalViewPr>
  <p:slideViewPr>
    <p:cSldViewPr snapToGrid="0" showGuides="1">
      <p:cViewPr varScale="1">
        <p:scale>
          <a:sx n="114" d="100"/>
          <a:sy n="114" d="100"/>
        </p:scale>
        <p:origin x="114" y="330"/>
      </p:cViewPr>
      <p:guideLst>
        <p:guide pos="5472"/>
        <p:guide pos="436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457200" cy="457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F6BC481-C757-422B-9FB4-1C5B5E29CEED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9474F0A2-5B5A-4DD3-8469-1F06DCB1D7B6}" type="pres">
      <dgm:prSet presAssocID="{4F6BC481-C757-422B-9FB4-1C5B5E29CEED}" presName="rootnode" presStyleCnt="0">
        <dgm:presLayoutVars>
          <dgm:chMax/>
          <dgm:chPref/>
          <dgm:dir/>
          <dgm:animLvl val="lvl"/>
        </dgm:presLayoutVars>
      </dgm:prSet>
      <dgm:spPr/>
    </dgm:pt>
  </dgm:ptLst>
  <dgm:cxnLst>
    <dgm:cxn modelId="{023716CF-27AA-466F-9902-927C805CA811}" type="presOf" srcId="{4F6BC481-C757-422B-9FB4-1C5B5E29CEED}" destId="{9474F0A2-5B5A-4DD3-8469-1F06DCB1D7B6}" srcOrd="0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6F9CC7-A661-1A4E-A6A8-32B1898B85F1}" type="datetimeFigureOut">
              <a:rPr lang="en-US" smtClean="0"/>
              <a:t>5/12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4A3040-57E1-9842-871F-A54D1C6150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689789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8F8F64-9C61-D445-B66B-487A9AA63591}" type="datetimeFigureOut">
              <a:rPr lang="en-US" smtClean="0"/>
              <a:t>5/1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458E03-19E1-9046-80D8-7C27022961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00391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ami.org/Get-Involved/NAMI-FaithNet/Tips-For-How-to-Help-a-Person-with-Mental-Illness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sychologytoday.com/us/blog/crazy-life/201810/how-talk-co-worker-about-their-mental-health" TargetMode="Externa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ckinsey.com/industries/healthcare-systems-and-services/our-insights/returning-to-resilience-the-impact-of-covid-19-on-behavioral-health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kff.org/health-reform/issue-brief/the-implications-of-covid-19-for-mental-health-and-substance-use/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ff.org/health-reform/issue-brief/the-implications-of-covid-19-for-mental-health-and-substance-use/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imh.nih.gov/health/statistics/major-depression.shtml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veandworkwell.com/content/en/member/article.16156.html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mhanational.org/bereavement-and-grief" TargetMode="Externa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namimn.org/nami-minnesota-covid-19-resources/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2a392k31wksy2wkejf1y03dp-wpengine.netdna-ssl.com/wp-content/uploads/sites/188/2020/04/Focus-on-Your-Mental-Health.pdf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D7E72-440B-4703-B629-84D5E72DFD5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16436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r>
              <a:rPr lang="en-US" sz="1300" dirty="0"/>
              <a:t>National Alliance on Mental Illness: Tips For How to Help a Person with Mental Illness</a:t>
            </a:r>
            <a:endParaRPr lang="en-US" dirty="0">
              <a:hlinkClick r:id="rId3"/>
            </a:endParaRPr>
          </a:p>
          <a:p>
            <a:r>
              <a:rPr lang="en-US" dirty="0">
                <a:hlinkClick r:id="rId3"/>
              </a:rPr>
              <a:t>https://www.nami.org/Get-Involved/NAMI-FaithNet/Tips-For-How-to-Help-a-Person-with-Mental-Illness</a:t>
            </a:r>
            <a:endParaRPr lang="en-US" dirty="0"/>
          </a:p>
          <a:p>
            <a:endParaRPr lang="en-US" altLang="en-US" dirty="0"/>
          </a:p>
          <a:p>
            <a:r>
              <a:rPr lang="en-US" altLang="en-US" dirty="0"/>
              <a:t>Optum EAP training: How to Recognize Changes in Employee Behavior and Take Appropriate Action</a:t>
            </a:r>
          </a:p>
          <a:p>
            <a:r>
              <a:rPr lang="en-US" dirty="0">
                <a:hlinkClick r:id="rId4"/>
              </a:rPr>
              <a:t>https://www.psychologytoday.com/us/blog/crazy-life/201810/how-talk-co-worker-about-their-mental-health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D7E72-440B-4703-B629-84D5E72DFD52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991532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A0FF6-7BFD-45EF-8D51-283BE7A83DB4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193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F01560-87C0-4F5C-A8D4-49B8CF15AF9C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08200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300" dirty="0"/>
              <a:t>Sources</a:t>
            </a:r>
          </a:p>
          <a:p>
            <a:pPr marL="241653" indent="-241653">
              <a:buFont typeface="+mj-lt"/>
              <a:buAutoNum type="arabicPeriod" startAt="4"/>
            </a:pPr>
            <a:r>
              <a:rPr lang="en-US" dirty="0">
                <a:hlinkClick r:id="rId3"/>
              </a:rPr>
              <a:t>https://www.mckinsey.com/industries/healthcare-systems-and-services/our-insights/returning-to-resilience-the-impact-of-covid-19-on-behavioral-health</a:t>
            </a:r>
            <a:endParaRPr lang="en-US" sz="1300" dirty="0"/>
          </a:p>
          <a:p>
            <a:pPr marL="241653" indent="-241653" defTabSz="966612">
              <a:buFont typeface="+mj-lt"/>
              <a:buAutoNum type="arabicPeriod" startAt="4"/>
              <a:defRPr/>
            </a:pPr>
            <a:r>
              <a:rPr lang="en-US" dirty="0">
                <a:hlinkClick r:id="rId4"/>
              </a:rPr>
              <a:t>https://www.kff.org/health-reform/issue-brief/the-implications-of-covid-19-for-mental-health-and-substance-use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D7E72-440B-4703-B629-84D5E72DFD5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5446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41653" indent="-241653" defTabSz="966612">
              <a:buFont typeface="+mj-lt"/>
              <a:buAutoNum type="arabicPeriod" startAt="6"/>
              <a:defRPr/>
            </a:pPr>
            <a:r>
              <a:rPr lang="en-US" sz="1300" dirty="0" err="1"/>
              <a:t>Nirmita</a:t>
            </a:r>
            <a:r>
              <a:rPr lang="en-US" sz="1300" dirty="0"/>
              <a:t> Panchal, Rabah Kamal, Kendal </a:t>
            </a:r>
            <a:r>
              <a:rPr lang="en-US" sz="1300" dirty="0" err="1"/>
              <a:t>Orgera</a:t>
            </a:r>
            <a:r>
              <a:rPr lang="en-US" sz="1300" dirty="0"/>
              <a:t>, Cynthia Cox, Rachel Garfield, Liz Hamel, </a:t>
            </a:r>
            <a:r>
              <a:rPr lang="en-US" sz="1300" dirty="0" err="1"/>
              <a:t>Cailey</a:t>
            </a:r>
            <a:r>
              <a:rPr lang="en-US" sz="1300" dirty="0"/>
              <a:t> </a:t>
            </a:r>
            <a:r>
              <a:rPr lang="en-US" sz="1300" dirty="0" err="1"/>
              <a:t>Muñana</a:t>
            </a:r>
            <a:r>
              <a:rPr lang="en-US" sz="1300" dirty="0"/>
              <a:t>, and Priya Chidambaram, The Implications of COVID-19 for Mental Health and Substance Use (Apr 21, 2020), </a:t>
            </a:r>
            <a:r>
              <a:rPr lang="en-US" dirty="0">
                <a:hlinkClick r:id="rId3"/>
              </a:rPr>
              <a:t>https://www.kff.org/health-reform/issue-brief/the-implications-of-covid-19-for-mental-health-and-substance-use/</a:t>
            </a:r>
            <a:endParaRPr lang="en-US" sz="1300" dirty="0"/>
          </a:p>
          <a:p>
            <a:pPr marL="362480" indent="-362480">
              <a:buFont typeface="Arial" panose="020B0604020202020204" pitchFamily="34" charset="0"/>
              <a:buChar char="•"/>
            </a:pPr>
            <a:endParaRPr lang="en-US" sz="1500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D7E72-440B-4703-B629-84D5E72DFD5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4924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0827" defTabSz="966612" fontAlgn="ctr">
              <a:defRPr/>
            </a:pPr>
            <a:r>
              <a:rPr lang="en-US" dirty="0"/>
              <a:t>Source: </a:t>
            </a:r>
            <a:r>
              <a:rPr lang="en-US" sz="1300" dirty="0"/>
              <a:t>Advisory Board, How to be a less-stressed leader; August 2018</a:t>
            </a:r>
          </a:p>
          <a:p>
            <a:pPr marL="120827" fontAlgn="ctr"/>
            <a:endParaRPr lang="en-US" dirty="0"/>
          </a:p>
          <a:p>
            <a:pPr marL="120827" defTabSz="966612" fontAlgn="ctr">
              <a:defRPr/>
            </a:pPr>
            <a:r>
              <a:rPr lang="en-US" sz="1300" dirty="0"/>
              <a:t>7. Advisory Board, How to be a less-stressed leader; August 2018</a:t>
            </a:r>
          </a:p>
          <a:p>
            <a:pPr marL="845786" lvl="1" indent="-241653" fontAlgn="ctr">
              <a:buFont typeface="+mj-lt"/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D7E72-440B-4703-B629-84D5E72DFD5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57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300" dirty="0"/>
              <a:t>Source: https://www.nami.org/About-Mental-Illness/Mental-Health-Conditions/Anxiety-Disord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D7E72-440B-4703-B629-84D5E72DFD52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553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300" dirty="0"/>
              <a:t>8.  National Institute of Mental Health (NIMH); Prevalence of Major Depressive Episode Among Adults; February 2019; </a:t>
            </a:r>
            <a:r>
              <a:rPr lang="en-US" sz="1300" dirty="0">
                <a:hlinkClick r:id="rId3"/>
              </a:rPr>
              <a:t>https://www.nimh.nih.gov/health/statistics/major-depression.shtml</a:t>
            </a:r>
            <a:endParaRPr lang="en-US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D7E72-440B-4703-B629-84D5E72DFD52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5517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r>
              <a:rPr lang="en-US" dirty="0">
                <a:hlinkClick r:id="rId3"/>
              </a:rPr>
              <a:t>https://www.liveandworkwell.com/content/en/member/article.16156.html</a:t>
            </a:r>
            <a:endParaRPr lang="en-US" sz="1300" dirty="0"/>
          </a:p>
          <a:p>
            <a:r>
              <a:rPr lang="en-US" dirty="0">
                <a:hlinkClick r:id="rId4"/>
              </a:rPr>
              <a:t>https://www.mhanational.org/bereavement-and-grief</a:t>
            </a:r>
            <a:endParaRPr lang="en-US" dirty="0"/>
          </a:p>
          <a:p>
            <a:r>
              <a:rPr lang="en-US" sz="1300" dirty="0"/>
              <a:t>https://newsinhealth.nih.gov/2017/10/coping-grief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D7E72-440B-4703-B629-84D5E72DFD5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3917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r>
              <a:rPr lang="en-US" sz="1300" dirty="0"/>
              <a:t>National Alliance on Mental Illness (</a:t>
            </a:r>
            <a:r>
              <a:rPr lang="en-US" baseline="0" dirty="0">
                <a:solidFill>
                  <a:schemeClr val="dk1"/>
                </a:solidFill>
              </a:rPr>
              <a:t>NAMI) Minnesota</a:t>
            </a:r>
          </a:p>
          <a:p>
            <a:pPr marL="181240" indent="-181240" defTabSz="966612">
              <a:buFont typeface="Arial" panose="020B0604020202020204" pitchFamily="34" charset="0"/>
              <a:buChar char="•"/>
              <a:defRPr/>
            </a:pPr>
            <a:r>
              <a:rPr lang="en-US" dirty="0">
                <a:hlinkClick r:id="rId3"/>
              </a:rPr>
              <a:t>https://namimn.org/nami-minnesota-covid-19-resources/</a:t>
            </a:r>
            <a:endParaRPr lang="en-US" dirty="0">
              <a:hlinkClick r:id="rId4"/>
            </a:endParaRPr>
          </a:p>
          <a:p>
            <a:pPr marL="181240" indent="-181240" defTabSz="966612">
              <a:buFont typeface="Arial" panose="020B0604020202020204" pitchFamily="34" charset="0"/>
              <a:buChar char="•"/>
              <a:defRPr/>
            </a:pPr>
            <a:r>
              <a:rPr lang="en-US" dirty="0">
                <a:hlinkClick r:id="rId4"/>
              </a:rPr>
              <a:t>https://2a392k31wksy2wkejf1y03dp-wpengine.netdna-ssl.com/wp-content/uploads/sites/188/2020/04/Focus-on-Your-Mental-Health.pdf</a:t>
            </a:r>
            <a:endParaRPr lang="en-US" dirty="0"/>
          </a:p>
          <a:p>
            <a:pPr defTabSz="966612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D7E72-440B-4703-B629-84D5E72DFD52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7499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-No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685800" y="4800602"/>
            <a:ext cx="6680200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n-US" sz="600" dirty="0">
                <a:solidFill>
                  <a:srgbClr val="FFFFFF"/>
                </a:solidFill>
              </a:rPr>
              <a:t>© 2020 UnitedHealth Group. Any use, copying or distribution without written permission from UnitedHealth Group is prohibited.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1" y="1716741"/>
            <a:ext cx="7956529" cy="1121709"/>
          </a:xfrm>
          <a:prstGeom prst="rect">
            <a:avLst/>
          </a:prstGeom>
        </p:spPr>
        <p:txBody>
          <a:bodyPr vert="horz" lIns="0" rIns="0" anchor="b">
            <a:noAutofit/>
          </a:bodyPr>
          <a:lstStyle>
            <a:lvl1pPr marL="0" indent="0">
              <a:buNone/>
              <a:defRPr sz="48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Title Arial Bold 48p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1" y="2866956"/>
            <a:ext cx="7956529" cy="783431"/>
          </a:xfrm>
          <a:prstGeom prst="rect">
            <a:avLst/>
          </a:prstGeom>
        </p:spPr>
        <p:txBody>
          <a:bodyPr vert="horz" lIns="0" rIns="0">
            <a:normAutofit/>
          </a:bodyPr>
          <a:lstStyle>
            <a:lvl1pPr marL="0" indent="0">
              <a:buNone/>
              <a:defRPr sz="2000" b="1" i="0">
                <a:solidFill>
                  <a:schemeClr val="accent4"/>
                </a:solidFill>
                <a:latin typeface="+mn-lt"/>
                <a:cs typeface="Arial"/>
              </a:defRPr>
            </a:lvl1pPr>
          </a:lstStyle>
          <a:p>
            <a:r>
              <a:rPr lang="en-US" dirty="0"/>
              <a:t>Subtitle Here Arial 20p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1B4C3A6-4B3F-46E6-8D2E-2A97869C2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t="1" r="2064" b="-1"/>
          <a:stretch/>
        </p:blipFill>
        <p:spPr>
          <a:xfrm>
            <a:off x="685803" y="514351"/>
            <a:ext cx="1789953" cy="133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4158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CEB07A22-DB36-4F5C-8F7B-5F8983EF0C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672494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2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CEB07A22-DB36-4F5C-8F7B-5F8983EF0C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0" y="0"/>
            <a:ext cx="9144000" cy="10287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accent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92378" y="376669"/>
            <a:ext cx="7994423" cy="475722"/>
          </a:xfrm>
          <a:prstGeom prst="rect">
            <a:avLst/>
          </a:prstGeom>
        </p:spPr>
        <p:txBody>
          <a:bodyPr vert="horz" lIns="0" rIns="0" anchor="ctr"/>
          <a:lstStyle>
            <a:lvl1pPr>
              <a:defRPr sz="3600" b="1" i="0">
                <a:solidFill>
                  <a:schemeClr val="accent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Bold 36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7DE31FD-76CB-4691-BC02-CD0A00A274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F9ED14C-F6CB-485D-8587-48893DD8E2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1" r="1909" b="-1"/>
          <a:stretch/>
        </p:blipFill>
        <p:spPr>
          <a:xfrm>
            <a:off x="685801" y="4892521"/>
            <a:ext cx="1333070" cy="9944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5D2CDE3-20DC-4C4A-BBDB-67D563FC97D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02000" y="4900549"/>
            <a:ext cx="5173133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>
              <a:defRPr/>
            </a:pPr>
            <a:r>
              <a:rPr lang="en-US" sz="600" dirty="0"/>
              <a:t>© 2020 UnitedHealth Group. Any use, copying or distribution without written permission from UnitedHealth Group is prohibited.</a:t>
            </a:r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2F5FB23F-1707-49AF-9719-58956A258E2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43464" y="1400176"/>
            <a:ext cx="3546475" cy="310872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1981F70E-E282-4481-8640-3169F7AD4F20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85800" y="1400176"/>
            <a:ext cx="3888512" cy="312538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</p:spTree>
    <p:extLst>
      <p:ext uri="{BB962C8B-B14F-4D97-AF65-F5344CB8AC3E}">
        <p14:creationId xmlns:p14="http://schemas.microsoft.com/office/powerpoint/2010/main" val="9881031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Blue -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CE784BDB-E988-46C6-870F-D47074561C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768158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7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CE784BDB-E988-46C6-870F-D47074561C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92378" y="376669"/>
            <a:ext cx="7994423" cy="475722"/>
          </a:xfrm>
          <a:prstGeom prst="rect">
            <a:avLst/>
          </a:prstGeom>
        </p:spPr>
        <p:txBody>
          <a:bodyPr vert="horz" lIns="0" rIns="0" anchor="ctr"/>
          <a:lstStyle>
            <a:lvl1pPr>
              <a:defRPr sz="36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Bold 36pt</a:t>
            </a: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ABCBEB69-3596-474E-9135-A9830D9A4E1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43464" y="1400176"/>
            <a:ext cx="3546475" cy="310872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59EC4164-BF83-4701-B080-54331D73432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85800" y="1400176"/>
            <a:ext cx="3888512" cy="312538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</p:spTree>
    <p:extLst>
      <p:ext uri="{BB962C8B-B14F-4D97-AF65-F5344CB8AC3E}">
        <p14:creationId xmlns:p14="http://schemas.microsoft.com/office/powerpoint/2010/main" val="39016436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Grey -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D666CB8-BE49-43A5-891C-D674DD7EAC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645793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2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D666CB8-BE49-43A5-891C-D674DD7EA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0" y="0"/>
            <a:ext cx="9144000" cy="10287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92378" y="376669"/>
            <a:ext cx="7994423" cy="475722"/>
          </a:xfrm>
          <a:prstGeom prst="rect">
            <a:avLst/>
          </a:prstGeom>
        </p:spPr>
        <p:txBody>
          <a:bodyPr vert="horz" lIns="0" rIns="0" anchor="ctr"/>
          <a:lstStyle>
            <a:lvl1pPr>
              <a:defRPr sz="3600" b="1" i="0">
                <a:solidFill>
                  <a:srgbClr val="003C7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Bold 36pt</a:t>
            </a: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AC51204B-23C2-4328-9E01-1ABF4E53A65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43464" y="1400176"/>
            <a:ext cx="3546475" cy="310872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F0391FB2-AFE5-45D8-A37D-D26598F5A45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85800" y="1400176"/>
            <a:ext cx="3888512" cy="312538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</p:spTree>
    <p:extLst>
      <p:ext uri="{BB962C8B-B14F-4D97-AF65-F5344CB8AC3E}">
        <p14:creationId xmlns:p14="http://schemas.microsoft.com/office/powerpoint/2010/main" val="36345869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9283DE3-A361-44CB-A7DB-BB4BA7CA63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0939402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4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9283DE3-A361-44CB-A7DB-BB4BA7CA63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79346EB-56AE-4AF5-897A-A3F2927E236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04850" y="1400175"/>
            <a:ext cx="4572000" cy="311229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92378" y="376669"/>
            <a:ext cx="7994423" cy="475722"/>
          </a:xfrm>
          <a:prstGeom prst="rect">
            <a:avLst/>
          </a:prstGeom>
        </p:spPr>
        <p:txBody>
          <a:bodyPr vert="horz" lIns="0" rIns="0" anchor="ctr"/>
          <a:lstStyle>
            <a:lvl1pPr>
              <a:defRPr sz="36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Bold 36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4A8A23-9D14-4EAB-8517-67BEE952D6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82EECD7-8DE4-4843-81AB-C8528D3BDB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1" r="1909" b="-1"/>
          <a:stretch/>
        </p:blipFill>
        <p:spPr>
          <a:xfrm>
            <a:off x="685801" y="4892521"/>
            <a:ext cx="1333070" cy="9944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FBA9FE6-5D3D-4CD9-9F1E-59951946190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02000" y="4900549"/>
            <a:ext cx="5173133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>
              <a:defRPr/>
            </a:pPr>
            <a:r>
              <a:rPr lang="en-US" sz="600" dirty="0"/>
              <a:t>© 2020 UnitedHealth Group. Any use, copying or distribution without written permission from UnitedHealth Group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14254177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885F07E-1995-4D79-913A-0FE00230E8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405722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8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885F07E-1995-4D79-913A-0FE00230E8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C2AA7B9-FD94-4FA2-91D7-313588B4E3A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04850" y="1400175"/>
            <a:ext cx="4572000" cy="311229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0"/>
            <a:ext cx="9144000" cy="102870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92378" y="376669"/>
            <a:ext cx="7994423" cy="475722"/>
          </a:xfrm>
          <a:prstGeom prst="rect">
            <a:avLst/>
          </a:prstGeom>
        </p:spPr>
        <p:txBody>
          <a:bodyPr vert="horz" lIns="0" rIns="0" anchor="ctr"/>
          <a:lstStyle>
            <a:lvl1pPr>
              <a:defRPr sz="3600" b="1" i="0">
                <a:solidFill>
                  <a:srgbClr val="003C7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Bold 36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FEEE624-2216-435F-988E-56B329CCA9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5970F7C-EB02-4AC9-92D2-56B1623799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1" r="1909" b="-1"/>
          <a:stretch/>
        </p:blipFill>
        <p:spPr>
          <a:xfrm>
            <a:off x="685801" y="4892521"/>
            <a:ext cx="1333070" cy="9944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7DB6B2B-8290-4419-B4A6-AD60B060B8F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02000" y="4900549"/>
            <a:ext cx="5173133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>
              <a:defRPr/>
            </a:pPr>
            <a:r>
              <a:rPr lang="en-US" sz="600" dirty="0"/>
              <a:t>© 2020 UnitedHealth Group. Any use, copying or distribution without written permission from UnitedHealth Group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31867342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-Slide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3B5F5B-6677-4944-B6D3-69D8D53706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D8A6F42-7A4A-477C-804A-281B93939E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60525" y="1077913"/>
            <a:ext cx="5822950" cy="2987675"/>
          </a:xfrm>
        </p:spPr>
        <p:txBody>
          <a:bodyPr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2pPr marL="342900" indent="0" algn="ctr">
              <a:buNone/>
              <a:defRPr sz="3200">
                <a:solidFill>
                  <a:schemeClr val="bg1"/>
                </a:solidFill>
              </a:defRPr>
            </a:lvl2pPr>
            <a:lvl3pPr marL="685800" indent="0" algn="ctr">
              <a:buNone/>
              <a:defRPr sz="3200">
                <a:solidFill>
                  <a:schemeClr val="bg1"/>
                </a:solidFill>
              </a:defRPr>
            </a:lvl3pPr>
            <a:lvl4pPr marL="1028700" indent="0" algn="ctr">
              <a:buNone/>
              <a:defRPr sz="3200">
                <a:solidFill>
                  <a:schemeClr val="bg1"/>
                </a:solidFill>
              </a:defRPr>
            </a:lvl4pPr>
            <a:lvl5pPr marL="1371600" indent="0" algn="ctr">
              <a:buNone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32pt</a:t>
            </a:r>
          </a:p>
        </p:txBody>
      </p:sp>
    </p:spTree>
    <p:extLst>
      <p:ext uri="{BB962C8B-B14F-4D97-AF65-F5344CB8AC3E}">
        <p14:creationId xmlns:p14="http://schemas.microsoft.com/office/powerpoint/2010/main" val="20808898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-Slide -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1309AC4-8FA3-46DD-A62A-C8969FCA1F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3F9F47-EC76-421B-9FFD-7AE95FA5A0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60525" y="1077913"/>
            <a:ext cx="5822950" cy="2987675"/>
          </a:xfrm>
        </p:spPr>
        <p:txBody>
          <a:bodyPr anchor="ctr">
            <a:noAutofit/>
          </a:bodyPr>
          <a:lstStyle>
            <a:lvl1pPr marL="0" indent="0" algn="ctr">
              <a:buNone/>
              <a:defRPr sz="3200">
                <a:solidFill>
                  <a:schemeClr val="tx1"/>
                </a:solidFill>
              </a:defRPr>
            </a:lvl1pPr>
            <a:lvl2pPr marL="342900" indent="0" algn="ctr">
              <a:buNone/>
              <a:defRPr sz="3200">
                <a:solidFill>
                  <a:schemeClr val="bg1"/>
                </a:solidFill>
              </a:defRPr>
            </a:lvl2pPr>
            <a:lvl3pPr marL="685800" indent="0" algn="ctr">
              <a:buNone/>
              <a:defRPr sz="3200">
                <a:solidFill>
                  <a:schemeClr val="bg1"/>
                </a:solidFill>
              </a:defRPr>
            </a:lvl3pPr>
            <a:lvl4pPr marL="1028700" indent="0" algn="ctr">
              <a:buNone/>
              <a:defRPr sz="3200">
                <a:solidFill>
                  <a:schemeClr val="bg1"/>
                </a:solidFill>
              </a:defRPr>
            </a:lvl4pPr>
            <a:lvl5pPr marL="1371600" indent="0" algn="ctr">
              <a:buNone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32pt</a:t>
            </a:r>
          </a:p>
        </p:txBody>
      </p:sp>
    </p:spTree>
    <p:extLst>
      <p:ext uri="{BB962C8B-B14F-4D97-AF65-F5344CB8AC3E}">
        <p14:creationId xmlns:p14="http://schemas.microsoft.com/office/powerpoint/2010/main" val="42433429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llout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31175" y="1285297"/>
            <a:ext cx="3512956" cy="2563751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ED19DF3-147D-4708-B2F3-7D803781BEB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1034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llout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FC494E-489C-428C-9F7A-FE2481D209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366FF79-1096-4893-96E2-9D59D69F22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1175" y="1285297"/>
            <a:ext cx="3512956" cy="2563751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37865310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Key Callouts -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" name="Rectangle 3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35E1CC8-863A-4E30-B0CD-2D7D58DB13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9B8395C-9ED9-4E60-AADF-9D31FFCD14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1175" y="1285297"/>
            <a:ext cx="3512956" cy="2563751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0248F4D-8066-414E-9636-AEB6A7A654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94630" y="1285875"/>
            <a:ext cx="3511550" cy="256381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26994127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Ad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3257550"/>
            <a:ext cx="9144000" cy="18859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/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685800" y="4812144"/>
            <a:ext cx="6680200" cy="80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n-US" sz="525" dirty="0">
                <a:solidFill>
                  <a:srgbClr val="FFFFFF"/>
                </a:solidFill>
              </a:rPr>
              <a:t>© 2020 UnitedHealth Group. Any use, copying or distribution without written permission from UnitedHealth Group is prohibited.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1" y="3345224"/>
            <a:ext cx="7956529" cy="783431"/>
          </a:xfrm>
          <a:prstGeom prst="rect">
            <a:avLst/>
          </a:prstGeom>
        </p:spPr>
        <p:txBody>
          <a:bodyPr vert="horz" lIns="0" rIns="0" anchor="b">
            <a:noAutofit/>
          </a:bodyPr>
          <a:lstStyle>
            <a:lvl1pPr marL="0" indent="0">
              <a:buNone/>
              <a:defRPr sz="48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Title Arial Bold 48pt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1" y="4157162"/>
            <a:ext cx="7956529" cy="404418"/>
          </a:xfrm>
          <a:prstGeom prst="rect">
            <a:avLst/>
          </a:prstGeom>
        </p:spPr>
        <p:txBody>
          <a:bodyPr vert="horz" lIns="0" rIns="0">
            <a:normAutofit/>
          </a:bodyPr>
          <a:lstStyle>
            <a:lvl1pPr marL="0" indent="0">
              <a:buNone/>
              <a:defRPr sz="2000" b="1" i="0">
                <a:solidFill>
                  <a:schemeClr val="accent4"/>
                </a:solidFill>
                <a:latin typeface="+mn-lt"/>
                <a:cs typeface="Arial"/>
              </a:defRPr>
            </a:lvl1pPr>
          </a:lstStyle>
          <a:p>
            <a:pPr lvl="0"/>
            <a:r>
              <a:rPr lang="en-US" dirty="0"/>
              <a:t>Subtitle Here Arial 20p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088F558-8576-42A0-963D-4D545F5B5C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" r="2147" b="-2"/>
          <a:stretch/>
        </p:blipFill>
        <p:spPr>
          <a:xfrm>
            <a:off x="685801" y="520356"/>
            <a:ext cx="1792224" cy="134015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EE736AD-9A94-4FFF-824B-401F7808E57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796925"/>
            <a:ext cx="9144000" cy="2460625"/>
          </a:xfrm>
          <a:solidFill>
            <a:schemeClr val="bg2"/>
          </a:solidFill>
        </p:spPr>
        <p:txBody>
          <a:bodyPr/>
          <a:lstStyle>
            <a:lvl1pPr marL="0" marR="0" indent="0" algn="ctr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/>
            </a:lvl1pPr>
          </a:lstStyle>
          <a:p>
            <a:pPr marL="257175" marR="0" lvl="0" indent="-257175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lang="en-US" dirty="0"/>
              <a:t>Click icon to add photo</a:t>
            </a:r>
          </a:p>
        </p:txBody>
      </p:sp>
    </p:spTree>
    <p:extLst>
      <p:ext uri="{BB962C8B-B14F-4D97-AF65-F5344CB8AC3E}">
        <p14:creationId xmlns:p14="http://schemas.microsoft.com/office/powerpoint/2010/main" val="22291009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Key Callouts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" name="Rectangle 3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93BFE0A-41E4-4215-A8D5-C69FDF59B1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4EA95BD-2B33-48E4-B2D9-0462FC67D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1175" y="1285297"/>
            <a:ext cx="3512956" cy="2563751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A135A51-B1BD-4414-8DAC-E981669E28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94630" y="1285875"/>
            <a:ext cx="3511550" cy="256381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38670966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Key Callouts -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AF119C-904B-4C64-A89E-A937DFB84B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93D9056-AEB7-4C9D-9C19-D04468A5E1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1175" y="1285297"/>
            <a:ext cx="3512956" cy="2563751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AE533B8-9217-4751-8BF0-C1181127E6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94630" y="1285875"/>
            <a:ext cx="3511550" cy="256381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16895224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Key Callouts -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D679628-AC3D-4B88-BFD1-D3F1240CCA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133413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8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D679628-AC3D-4B88-BFD1-D3F1240CC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D8B8B3B3-B4BA-44ED-BCBD-9BE67E5C5939}"/>
              </a:ext>
            </a:extLst>
          </p:cNvPr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508BA86-FFEE-4622-BBB5-A1E903FF9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EF62922-61D2-43A6-B8DE-FFDF3C3553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1175" y="1285297"/>
            <a:ext cx="3512956" cy="2563751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2717245-58C3-429D-B775-6F5D87D76D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94630" y="1285875"/>
            <a:ext cx="3511550" cy="256381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36026100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- Key Callouts -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514350"/>
            <a:ext cx="5943600" cy="4629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68014" y="1285297"/>
            <a:ext cx="4807575" cy="2563751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EA0AF8-80EB-4DC1-9CC7-8D5DB2BAFCB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63057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- Key Callouts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943600" y="0"/>
            <a:ext cx="3200400" cy="46291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 dirty="0">
              <a:solidFill>
                <a:schemeClr val="bg2"/>
              </a:solidFill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56AFB9C0-8003-4855-B8A8-12A3A1EF98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29326" y="1285296"/>
            <a:ext cx="2428948" cy="2563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400" b="0" i="0">
                <a:solidFill>
                  <a:srgbClr val="FFFFF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514350"/>
            <a:ext cx="5943600" cy="4629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F0AF651-02E6-4B30-A22D-888B2699DF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DBF864C-6942-4A53-A7BC-F9F4980F87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014" y="1285297"/>
            <a:ext cx="4807575" cy="2563751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24386304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- Key Callouts -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514350"/>
            <a:ext cx="5943600" cy="4629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/>
          </a:p>
        </p:txBody>
      </p:sp>
      <p:sp>
        <p:nvSpPr>
          <p:cNvPr id="5" name="Rectangle 4"/>
          <p:cNvSpPr/>
          <p:nvPr/>
        </p:nvSpPr>
        <p:spPr>
          <a:xfrm>
            <a:off x="5943600" y="0"/>
            <a:ext cx="3200400" cy="46291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 dirty="0">
              <a:solidFill>
                <a:schemeClr val="bg2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850E4DE-5492-4AD5-92C8-E0776A214A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94727030-CC6F-47DA-A8FF-A51BE816C4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29326" y="1285296"/>
            <a:ext cx="2428948" cy="2563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400" b="0" i="0">
                <a:solidFill>
                  <a:srgbClr val="FFFFF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3790C23-CC2E-4D28-B230-8047B4B5DC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014" y="1285297"/>
            <a:ext cx="4807575" cy="2563751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1436687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- Key Callouts -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514350"/>
            <a:ext cx="5943600" cy="4629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/>
          </a:p>
        </p:txBody>
      </p:sp>
      <p:sp>
        <p:nvSpPr>
          <p:cNvPr id="5" name="Rectangle 4"/>
          <p:cNvSpPr/>
          <p:nvPr/>
        </p:nvSpPr>
        <p:spPr>
          <a:xfrm>
            <a:off x="5943600" y="0"/>
            <a:ext cx="3200400" cy="46291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 dirty="0">
              <a:solidFill>
                <a:schemeClr val="bg2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EF4FD2-137B-4DA9-9C4E-1C98408E30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DDAD72D0-D49B-4C52-87C7-0375CDE278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29326" y="1285296"/>
            <a:ext cx="2428948" cy="2563751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400" b="0" i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037DEC9-EE1B-4C68-80EC-24BD45907A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014" y="1285297"/>
            <a:ext cx="4807575" cy="2563751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27952776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671824-AB27-4A04-A61E-6CA454917B2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0CAD1EF-2822-4F1E-8399-8C17B38C6FB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02000" y="4900549"/>
            <a:ext cx="5173133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>
              <a:defRPr/>
            </a:pPr>
            <a:r>
              <a:rPr lang="en-US" sz="600" dirty="0"/>
              <a:t>© 2020 UnitedHealth Group. Any use, copying or distribution without written permission from UnitedHealth Group is prohibited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0F8A284-6FAE-48F8-B310-72F1B8144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4938" y="416103"/>
            <a:ext cx="6194124" cy="1750038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accent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17720605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cked - Key Callouts -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2571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474938" y="416103"/>
            <a:ext cx="6194124" cy="1750038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DA15AF5-4611-427F-B6D7-1BF2272D34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88327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cked - Key Callouts -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2571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454151" y="2800351"/>
            <a:ext cx="6202363" cy="1765697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2400" b="0" i="0">
                <a:solidFill>
                  <a:schemeClr val="accent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AD0ECD9-04D3-4F17-86BE-B9E55D6DC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1A1ED42-DC5A-485A-9A02-28E5B571FC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4938" y="416103"/>
            <a:ext cx="6194124" cy="1750038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13467475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-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38668" y="1869562"/>
            <a:ext cx="7956529" cy="1665208"/>
          </a:xfrm>
          <a:prstGeom prst="rect">
            <a:avLst/>
          </a:prstGeom>
        </p:spPr>
        <p:txBody>
          <a:bodyPr vert="horz" lIns="0" rIns="0" anchor="ctr">
            <a:noAutofit/>
          </a:bodyPr>
          <a:lstStyle>
            <a:lvl1pPr marL="0" indent="0" defTabSz="1018824">
              <a:lnSpc>
                <a:spcPts val="6685"/>
              </a:lnSpc>
              <a:spcBef>
                <a:spcPts val="0"/>
              </a:spcBef>
              <a:buClr>
                <a:schemeClr val="accent5"/>
              </a:buClr>
              <a:buNone/>
              <a:defRPr sz="60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marL="0" lvl="0" indent="0" defTabSz="1018824">
              <a:lnSpc>
                <a:spcPts val="6685"/>
              </a:lnSpc>
              <a:buClr>
                <a:schemeClr val="accent5"/>
              </a:buClr>
              <a:buNone/>
            </a:pPr>
            <a:r>
              <a:rPr lang="en-US" dirty="0"/>
              <a:t>BREAKER </a:t>
            </a:r>
            <a:br>
              <a:rPr lang="en-US" dirty="0"/>
            </a:br>
            <a:r>
              <a:rPr lang="en-US" dirty="0"/>
              <a:t>ARIAL BOLD 60PT</a:t>
            </a:r>
          </a:p>
        </p:txBody>
      </p:sp>
    </p:spTree>
    <p:extLst>
      <p:ext uri="{BB962C8B-B14F-4D97-AF65-F5344CB8AC3E}">
        <p14:creationId xmlns:p14="http://schemas.microsoft.com/office/powerpoint/2010/main" val="25815500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cked - Key Callouts -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2571750"/>
            <a:ext cx="9144000" cy="2571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2571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372490-5BB5-4E46-80F8-94B4E97B2D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867C875-BB11-4913-BBD8-EA3E407A6E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54151" y="2800351"/>
            <a:ext cx="6202363" cy="1765697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07A3B00-7469-4656-A6B9-34CB681AB0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4938" y="416103"/>
            <a:ext cx="6194124" cy="1750038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15266831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cked - Key Callouts -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2571750"/>
            <a:ext cx="9144000" cy="2571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2571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CF35B5-B3DE-44ED-93D1-EFEB2CC7B4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6827B22-9442-4E00-843D-EFE5081607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54151" y="2800351"/>
            <a:ext cx="6202363" cy="1765697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28B6A40-A954-4726-BD1A-5C5D060FB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4938" y="416103"/>
            <a:ext cx="6194124" cy="1750038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42109205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cked - Key Callouts -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2571750"/>
            <a:ext cx="9144000" cy="2571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2571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2E1AE0A-DC89-4EA6-B36F-D24225FF3D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42BDB48-468F-4D12-AD39-9CF2E8D991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54151" y="2800351"/>
            <a:ext cx="6202363" cy="1765697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2400" b="0" i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EAA90FE-39B8-44F3-B624-0734659E3F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4938" y="416103"/>
            <a:ext cx="6194124" cy="1750038"/>
          </a:xfrm>
          <a:prstGeom prst="rect">
            <a:avLst/>
          </a:prstGeom>
        </p:spPr>
        <p:txBody>
          <a:bodyPr vert="horz" anchor="ctr"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24pt</a:t>
            </a:r>
          </a:p>
        </p:txBody>
      </p:sp>
    </p:spTree>
    <p:extLst>
      <p:ext uri="{BB962C8B-B14F-4D97-AF65-F5344CB8AC3E}">
        <p14:creationId xmlns:p14="http://schemas.microsoft.com/office/powerpoint/2010/main" val="406795821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- Key Callouts -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044952" y="514350"/>
            <a:ext cx="3054096" cy="46291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/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3044952" cy="4629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6D84179-83D2-4D72-B343-D5999BEEAA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449AC607-6E56-43DE-9ED4-D638851806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1608" y="1183583"/>
            <a:ext cx="2623658" cy="278292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20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3087A13-B3B9-4620-8299-8325476CC2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57261" y="1183583"/>
            <a:ext cx="2623658" cy="278292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20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</p:spTree>
    <p:extLst>
      <p:ext uri="{BB962C8B-B14F-4D97-AF65-F5344CB8AC3E}">
        <p14:creationId xmlns:p14="http://schemas.microsoft.com/office/powerpoint/2010/main" val="37313968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- Key Callouts -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044952" y="514350"/>
            <a:ext cx="3054096" cy="46291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/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3044952" cy="4629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/>
          </a:p>
        </p:txBody>
      </p:sp>
      <p:sp>
        <p:nvSpPr>
          <p:cNvPr id="7" name="Rectangle 6"/>
          <p:cNvSpPr/>
          <p:nvPr/>
        </p:nvSpPr>
        <p:spPr>
          <a:xfrm>
            <a:off x="6096000" y="0"/>
            <a:ext cx="3063240" cy="46291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4065D36-7F11-4FC3-8499-1D7016E2C64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EAC83AA-D84E-48C1-AD66-D71DF76EF4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1608" y="1183583"/>
            <a:ext cx="2623658" cy="278292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20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B08FD0D-8B2A-4BDC-AE36-6B880C2B379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57261" y="1183583"/>
            <a:ext cx="2623658" cy="278292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20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97FF39F-B11E-45C8-81F5-34208026D0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20501" y="1183583"/>
            <a:ext cx="2623658" cy="278292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</p:spTree>
    <p:extLst>
      <p:ext uri="{BB962C8B-B14F-4D97-AF65-F5344CB8AC3E}">
        <p14:creationId xmlns:p14="http://schemas.microsoft.com/office/powerpoint/2010/main" val="48111088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- Key Callouts -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3429000"/>
            <a:ext cx="45720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88DC506-2E65-435F-BC2D-518DDD8FBE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8E35DE89-3D85-4C7C-BB2A-E6E4E83900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171" y="1183583"/>
            <a:ext cx="3440306" cy="278292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accent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2973438-EF4E-4C65-84D6-95D5BE61E0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3682" y="3430541"/>
            <a:ext cx="3073514" cy="172220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</p:spTree>
    <p:extLst>
      <p:ext uri="{BB962C8B-B14F-4D97-AF65-F5344CB8AC3E}">
        <p14:creationId xmlns:p14="http://schemas.microsoft.com/office/powerpoint/2010/main" val="22979107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- Key Callouts -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6C2C92-2CE5-4ABD-972B-42B5B52329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AFFF825-44D9-4E24-AE16-B25BC7A3AD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171" y="1183583"/>
            <a:ext cx="3440306" cy="278292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CD279F6-E27E-4AD1-80C2-55CDF8F7D3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3682" y="3430541"/>
            <a:ext cx="3073514" cy="172220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rgbClr val="003C7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</p:spTree>
    <p:extLst>
      <p:ext uri="{BB962C8B-B14F-4D97-AF65-F5344CB8AC3E}">
        <p14:creationId xmlns:p14="http://schemas.microsoft.com/office/powerpoint/2010/main" val="334607804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- Key Callouts -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3429000"/>
            <a:ext cx="4572000" cy="1714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 dirty="0"/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A91A15D-16B9-4A74-B0F1-B3E47DF10B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6F490BF-9532-4FCD-B2D3-418BF517E7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171" y="1183583"/>
            <a:ext cx="3440306" cy="278292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CD3F6E3-FA85-444A-AB5A-EC17B396D3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3682" y="3430541"/>
            <a:ext cx="3073514" cy="172220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</p:spTree>
    <p:extLst>
      <p:ext uri="{BB962C8B-B14F-4D97-AF65-F5344CB8AC3E}">
        <p14:creationId xmlns:p14="http://schemas.microsoft.com/office/powerpoint/2010/main" val="14021669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- Key Callouts -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3429000"/>
            <a:ext cx="4572000" cy="1714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 dirty="0"/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 dirty="0"/>
          </a:p>
        </p:txBody>
      </p:sp>
      <p:sp>
        <p:nvSpPr>
          <p:cNvPr id="7" name="Rectangle 6"/>
          <p:cNvSpPr/>
          <p:nvPr/>
        </p:nvSpPr>
        <p:spPr>
          <a:xfrm>
            <a:off x="4572000" y="0"/>
            <a:ext cx="4572000" cy="1714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23601C5-02F7-445D-AB36-350CE6DF4B0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18A3D4-6F7E-4E71-A0DD-92C5BB4B5E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171" y="1183583"/>
            <a:ext cx="3440306" cy="278292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0C9A2EB-FA32-45BF-9CE6-FE3B91C1D61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3682" y="3430541"/>
            <a:ext cx="3073514" cy="172220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D79AE23-A75B-49A1-B8C2-914AFA6BADA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73682" y="1541"/>
            <a:ext cx="3073514" cy="172220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rgbClr val="FFFFF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</p:spTree>
    <p:extLst>
      <p:ext uri="{BB962C8B-B14F-4D97-AF65-F5344CB8AC3E}">
        <p14:creationId xmlns:p14="http://schemas.microsoft.com/office/powerpoint/2010/main" val="40761044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- Key Callouts -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3429000"/>
            <a:ext cx="4572000" cy="1714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 dirty="0"/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 dirty="0"/>
          </a:p>
        </p:txBody>
      </p:sp>
      <p:sp>
        <p:nvSpPr>
          <p:cNvPr id="7" name="Rectangle 6"/>
          <p:cNvSpPr/>
          <p:nvPr/>
        </p:nvSpPr>
        <p:spPr>
          <a:xfrm>
            <a:off x="4572000" y="0"/>
            <a:ext cx="4572000" cy="1714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03501CD-FBDB-4BFE-8B67-3F9CEC46E8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4F0C22E-24C4-425B-AD00-57F80463EF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171" y="1183583"/>
            <a:ext cx="3440306" cy="278292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9E4B1944-F748-46C2-A158-AF11D46D51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3682" y="3430541"/>
            <a:ext cx="3073514" cy="172220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1343BEA-428F-426E-81AD-9C107093DA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73682" y="1541"/>
            <a:ext cx="3073514" cy="172220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rgbClr val="FFFFF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</p:spTree>
    <p:extLst>
      <p:ext uri="{BB962C8B-B14F-4D97-AF65-F5344CB8AC3E}">
        <p14:creationId xmlns:p14="http://schemas.microsoft.com/office/powerpoint/2010/main" val="1275903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-L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92CD38B8-AC7E-43B4-8C33-BAAD490870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668" y="1869562"/>
            <a:ext cx="7956529" cy="1665208"/>
          </a:xfrm>
          <a:prstGeom prst="rect">
            <a:avLst/>
          </a:prstGeom>
        </p:spPr>
        <p:txBody>
          <a:bodyPr vert="horz" lIns="0" rIns="0" anchor="ctr">
            <a:noAutofit/>
          </a:bodyPr>
          <a:lstStyle>
            <a:lvl1pPr marL="0" indent="0" defTabSz="1018824">
              <a:lnSpc>
                <a:spcPts val="6685"/>
              </a:lnSpc>
              <a:spcBef>
                <a:spcPts val="0"/>
              </a:spcBef>
              <a:buClr>
                <a:schemeClr val="accent5"/>
              </a:buClr>
              <a:buNone/>
              <a:defRPr sz="60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marL="0" lvl="0" indent="0" defTabSz="1018824">
              <a:lnSpc>
                <a:spcPts val="6685"/>
              </a:lnSpc>
              <a:buClr>
                <a:schemeClr val="accent5"/>
              </a:buClr>
              <a:buNone/>
            </a:pPr>
            <a:r>
              <a:rPr lang="en-US" dirty="0"/>
              <a:t>BREAKER </a:t>
            </a:r>
            <a:br>
              <a:rPr lang="en-US" dirty="0"/>
            </a:br>
            <a:r>
              <a:rPr lang="en-US" dirty="0"/>
              <a:t>ARIAL BOLD 60PT</a:t>
            </a:r>
          </a:p>
        </p:txBody>
      </p:sp>
    </p:spTree>
    <p:extLst>
      <p:ext uri="{BB962C8B-B14F-4D97-AF65-F5344CB8AC3E}">
        <p14:creationId xmlns:p14="http://schemas.microsoft.com/office/powerpoint/2010/main" val="18627272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- Key Callouts -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3429000"/>
            <a:ext cx="4572000" cy="1714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 dirty="0"/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 dirty="0"/>
          </a:p>
        </p:txBody>
      </p:sp>
      <p:sp>
        <p:nvSpPr>
          <p:cNvPr id="7" name="Rectangle 6"/>
          <p:cNvSpPr/>
          <p:nvPr/>
        </p:nvSpPr>
        <p:spPr>
          <a:xfrm>
            <a:off x="4572000" y="0"/>
            <a:ext cx="4572000" cy="1714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 dirty="0"/>
          </a:p>
        </p:txBody>
      </p:sp>
      <p:sp>
        <p:nvSpPr>
          <p:cNvPr id="10" name="Rectangle 9"/>
          <p:cNvSpPr/>
          <p:nvPr/>
        </p:nvSpPr>
        <p:spPr>
          <a:xfrm>
            <a:off x="4572000" y="1714500"/>
            <a:ext cx="4572000" cy="1714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D6E48B6-20E6-4119-8366-1E4FE241DFD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D72B495-1B75-421F-8509-FA88C4C94B1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171" y="1183583"/>
            <a:ext cx="3440306" cy="278292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73FFFA9-53F4-41A9-8B65-75C793B61A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3682" y="3430541"/>
            <a:ext cx="3073514" cy="172220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1C6E911-B68A-48DC-8F9A-DD26D4C5F68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73682" y="1541"/>
            <a:ext cx="3073514" cy="172220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rgbClr val="FFFFF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FD84F5D-F59D-4554-B3C3-B9AD9BB993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73682" y="1716041"/>
            <a:ext cx="3073514" cy="172220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rgbClr val="FFFFF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</p:spTree>
    <p:extLst>
      <p:ext uri="{BB962C8B-B14F-4D97-AF65-F5344CB8AC3E}">
        <p14:creationId xmlns:p14="http://schemas.microsoft.com/office/powerpoint/2010/main" val="387568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 Column - Key Callouts -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3429000"/>
            <a:ext cx="4572000" cy="1714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79171" y="1183583"/>
            <a:ext cx="3440306" cy="2782929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4pt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273682" y="3430541"/>
            <a:ext cx="3073514" cy="172220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chemeClr val="tx1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  <p:sp>
        <p:nvSpPr>
          <p:cNvPr id="7" name="Rectangle 6"/>
          <p:cNvSpPr/>
          <p:nvPr/>
        </p:nvSpPr>
        <p:spPr>
          <a:xfrm>
            <a:off x="4572000" y="0"/>
            <a:ext cx="4572000" cy="1714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5273682" y="1541"/>
            <a:ext cx="3073514" cy="172220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rgbClr val="FFFFF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  <p:sp>
        <p:nvSpPr>
          <p:cNvPr id="10" name="Rectangle 9"/>
          <p:cNvSpPr/>
          <p:nvPr/>
        </p:nvSpPr>
        <p:spPr>
          <a:xfrm>
            <a:off x="4572000" y="1714500"/>
            <a:ext cx="4572000" cy="1714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en-US" sz="135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273682" y="1716041"/>
            <a:ext cx="3073514" cy="172220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Clr>
                <a:schemeClr val="accent5"/>
              </a:buClr>
              <a:buSzTx/>
              <a:buFont typeface="Arial" pitchFamily="34" charset="0"/>
              <a:buNone/>
              <a:tabLst/>
              <a:defRPr sz="2000" b="0" i="0">
                <a:solidFill>
                  <a:srgbClr val="FFFFF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en-US" dirty="0"/>
              <a:t>Arial 20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AA0658-C736-4E01-9628-4A4310E4CC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3931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6FBE2-E8AC-4DC9-BEC5-86D077626D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rial Bold 36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E3DF7E-82DA-4511-9613-383EAB5DF04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A9190F4-B4B6-4D00-B061-469B72C01C8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02000" y="4900549"/>
            <a:ext cx="5173133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>
              <a:defRPr/>
            </a:pPr>
            <a:r>
              <a:rPr lang="en-US" sz="600" dirty="0"/>
              <a:t>© 2020 UnitedHealth Group. Any use, copying or distribution without written permission from UnitedHealth Group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261563177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ullets/Content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type text. To change text formatting (approved color, size, bullets), place cursor at beginning of text/line and hit Tab or Shift Tab. Click icon for chart or tab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838713"/>
            <a:ext cx="8486775" cy="475738"/>
          </a:xfrm>
        </p:spPr>
        <p:txBody>
          <a:bodyPr tIns="182880" anchor="ctr"/>
          <a:lstStyle>
            <a:lvl1pPr>
              <a:defRPr sz="15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Use this space for one line subhead if needed</a:t>
            </a: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B77DB3D0-6C62-4C9F-8261-F38E91BC25B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42901" y="828676"/>
            <a:ext cx="8588829" cy="38678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DF47C519-F480-4737-BA78-68E9D9BEA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28178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05D2D6AA-11C0-40FC-AE61-A3438D026E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5750" y="4761709"/>
            <a:ext cx="2286000" cy="3817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7A0ED7E-BDCB-43F8-A8A2-07AC5BBD8E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947307" y="4743450"/>
            <a:ext cx="5984422" cy="457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0792A0A-A137-4754-A60C-4D16032C2EE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5506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-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8D84EE0-D6D3-4DF7-89EB-A483591203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668" y="1869562"/>
            <a:ext cx="7956529" cy="1665208"/>
          </a:xfrm>
          <a:prstGeom prst="rect">
            <a:avLst/>
          </a:prstGeom>
        </p:spPr>
        <p:txBody>
          <a:bodyPr vert="horz" lIns="0" rIns="0" anchor="ctr">
            <a:noAutofit/>
          </a:bodyPr>
          <a:lstStyle>
            <a:lvl1pPr marL="0" indent="0" defTabSz="1018824">
              <a:lnSpc>
                <a:spcPts val="6685"/>
              </a:lnSpc>
              <a:spcBef>
                <a:spcPts val="0"/>
              </a:spcBef>
              <a:buClr>
                <a:schemeClr val="accent5"/>
              </a:buClr>
              <a:buNone/>
              <a:defRPr sz="60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marL="0" lvl="0" indent="0" defTabSz="1018824">
              <a:lnSpc>
                <a:spcPts val="6685"/>
              </a:lnSpc>
              <a:buClr>
                <a:schemeClr val="accent5"/>
              </a:buClr>
              <a:buNone/>
            </a:pPr>
            <a:r>
              <a:rPr lang="en-US" dirty="0"/>
              <a:t>BREAKER </a:t>
            </a:r>
            <a:br>
              <a:rPr lang="en-US" dirty="0"/>
            </a:br>
            <a:r>
              <a:rPr lang="en-US" dirty="0"/>
              <a:t>ARIAL BOLD 60PT</a:t>
            </a:r>
          </a:p>
        </p:txBody>
      </p:sp>
    </p:spTree>
    <p:extLst>
      <p:ext uri="{BB962C8B-B14F-4D97-AF65-F5344CB8AC3E}">
        <p14:creationId xmlns:p14="http://schemas.microsoft.com/office/powerpoint/2010/main" val="6654718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-Grey">
    <p:bg>
      <p:bgPr>
        <a:solidFill>
          <a:srgbClr val="9999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8F3880FB-D2C3-4337-B7B6-06E1B7DC60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668" y="1869562"/>
            <a:ext cx="7956529" cy="1665208"/>
          </a:xfrm>
          <a:prstGeom prst="rect">
            <a:avLst/>
          </a:prstGeom>
        </p:spPr>
        <p:txBody>
          <a:bodyPr vert="horz" lIns="0" rIns="0" anchor="ctr">
            <a:noAutofit/>
          </a:bodyPr>
          <a:lstStyle>
            <a:lvl1pPr marL="0" indent="0" defTabSz="1018824">
              <a:lnSpc>
                <a:spcPts val="6685"/>
              </a:lnSpc>
              <a:spcBef>
                <a:spcPts val="0"/>
              </a:spcBef>
              <a:buClr>
                <a:schemeClr val="accent5"/>
              </a:buClr>
              <a:buNone/>
              <a:defRPr sz="60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pPr marL="0" lvl="0" indent="0" defTabSz="1018824">
              <a:lnSpc>
                <a:spcPts val="6685"/>
              </a:lnSpc>
              <a:buClr>
                <a:schemeClr val="accent5"/>
              </a:buClr>
              <a:buNone/>
            </a:pPr>
            <a:r>
              <a:rPr lang="en-US" dirty="0"/>
              <a:t>BREAKER </a:t>
            </a:r>
            <a:br>
              <a:rPr lang="en-US" dirty="0"/>
            </a:br>
            <a:r>
              <a:rPr lang="en-US" dirty="0"/>
              <a:t>ARIAL BOLD 60PT</a:t>
            </a:r>
          </a:p>
        </p:txBody>
      </p:sp>
    </p:spTree>
    <p:extLst>
      <p:ext uri="{BB962C8B-B14F-4D97-AF65-F5344CB8AC3E}">
        <p14:creationId xmlns:p14="http://schemas.microsoft.com/office/powerpoint/2010/main" val="33976173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ag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B18392-0FDE-4A9D-8675-682554B980EC}"/>
              </a:ext>
            </a:extLst>
          </p:cNvPr>
          <p:cNvSpPr/>
          <p:nvPr userDrawn="1"/>
        </p:nvSpPr>
        <p:spPr>
          <a:xfrm>
            <a:off x="0" y="0"/>
            <a:ext cx="9144000" cy="1028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7E40C9-7517-4B2D-AAB7-5F2E4A6EF5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rial Bold 36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36DBF8-2606-48AE-B144-B248B9B846A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704088" y="1405890"/>
            <a:ext cx="7982712" cy="328041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38042B-8F0F-4283-A029-A5A4A27BE0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7E75CA7-F867-4BE9-B137-EBA615DB60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" r="2147" b="-2"/>
          <a:stretch/>
        </p:blipFill>
        <p:spPr>
          <a:xfrm>
            <a:off x="685801" y="4889754"/>
            <a:ext cx="1366859" cy="10220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1C65A50-DEA6-4CC9-8E90-5F13B4BCA22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02000" y="4900549"/>
            <a:ext cx="5173133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>
              <a:defRPr/>
            </a:pPr>
            <a:r>
              <a:rPr lang="en-US" sz="600" dirty="0"/>
              <a:t>© 2020 UnitedHealth Group. Any use, copying or distribution without written permission from UnitedHealth Group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16108781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age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F644B7D-EB0F-436E-9968-604FA60335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902723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F644B7D-EB0F-436E-9968-604FA60335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316E1B-CC8A-4535-8B29-F32E4F33F4BB}"/>
              </a:ext>
            </a:extLst>
          </p:cNvPr>
          <p:cNvSpPr/>
          <p:nvPr/>
        </p:nvSpPr>
        <p:spPr>
          <a:xfrm>
            <a:off x="0" y="0"/>
            <a:ext cx="9144000" cy="10287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263E92-64DE-40BC-845A-2B9C514D89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rial Bold 36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87185B-7B77-40DF-9AE9-0B7AC509CDB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704088" y="1405890"/>
            <a:ext cx="7982712" cy="32861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05F6AA-99CB-468F-8116-E8CAEF4A80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EDD541F-1852-4358-AE90-42ED9E8DDC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1" r="1909" b="-1"/>
          <a:stretch/>
        </p:blipFill>
        <p:spPr>
          <a:xfrm>
            <a:off x="685801" y="4892521"/>
            <a:ext cx="1333070" cy="9944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5025355-9375-403E-9D97-ADA1DD4443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02000" y="4900549"/>
            <a:ext cx="5173133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>
              <a:defRPr/>
            </a:pPr>
            <a:r>
              <a:rPr lang="en-US" sz="600" dirty="0"/>
              <a:t>© 2020 UnitedHealth Group. Any use, copying or distribution without written permission from UnitedHealth Group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14542797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DB5CC5C-F030-4724-81FA-33C3B9159A3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43464" y="1400176"/>
            <a:ext cx="3546475" cy="310872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EB30387D-7E51-4F68-8F96-43BFBF86D0D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85800" y="1400176"/>
            <a:ext cx="3888512" cy="312538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D4E6F08-3FBF-486D-9237-EECD97B54844}"/>
              </a:ext>
            </a:extLst>
          </p:cNvPr>
          <p:cNvSpPr/>
          <p:nvPr userDrawn="1"/>
        </p:nvSpPr>
        <p:spPr>
          <a:xfrm>
            <a:off x="0" y="0"/>
            <a:ext cx="9144000" cy="1028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5240704-9DD9-4D59-BBFF-411FC9AAEC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597910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9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45240704-9DD9-4D59-BBFF-411FC9AAEC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92378" y="376669"/>
            <a:ext cx="7994423" cy="475722"/>
          </a:xfrm>
          <a:prstGeom prst="rect">
            <a:avLst/>
          </a:prstGeom>
        </p:spPr>
        <p:txBody>
          <a:bodyPr vert="horz" lIns="0" rIns="0" anchor="ctr"/>
          <a:lstStyle>
            <a:lvl1pPr>
              <a:defRPr sz="3600" b="1" i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Arial Bold 36p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5D6A73B-A327-4304-AE2F-3414E47D3E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75370D-4E78-C44F-8DB3-41D140BF8DE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13337D0-5BDC-4C8C-A86F-6EC63BA477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1" r="1909" b="-1"/>
          <a:stretch/>
        </p:blipFill>
        <p:spPr>
          <a:xfrm>
            <a:off x="685801" y="4892521"/>
            <a:ext cx="1333070" cy="9944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045B41-B935-4648-82FB-DD59221EF1E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02000" y="4900549"/>
            <a:ext cx="5173133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>
              <a:defRPr/>
            </a:pPr>
            <a:r>
              <a:rPr lang="en-US" sz="600" dirty="0"/>
              <a:t>© 2020 UnitedHealth Group. Any use, copying or distribution without written permission from UnitedHealth Group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40338699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188756269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Slide" r:id="rId47" imgW="408" imgH="408" progId="TCLayout.ActiveDocument.1">
                  <p:embed/>
                </p:oleObj>
              </mc:Choice>
              <mc:Fallback>
                <p:oleObj name="think-cell Slide" r:id="rId47" imgW="408" imgH="40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4506607-EB73-43D2-BE51-66EA2B0D2F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4088" y="1405890"/>
            <a:ext cx="7982712" cy="3281742"/>
          </a:xfrm>
          <a:prstGeom prst="rect">
            <a:avLst/>
          </a:prstGeom>
          <a:noFill/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Arial 24pt </a:t>
            </a:r>
          </a:p>
          <a:p>
            <a:pPr lvl="1"/>
            <a:r>
              <a:rPr lang="en-US" dirty="0"/>
              <a:t>Arial 24pt </a:t>
            </a:r>
          </a:p>
          <a:p>
            <a:pPr lvl="2"/>
            <a:r>
              <a:rPr lang="en-US" dirty="0"/>
              <a:t>Arial 20pt </a:t>
            </a:r>
          </a:p>
          <a:p>
            <a:pPr lvl="3"/>
            <a:r>
              <a:rPr lang="en-US" dirty="0"/>
              <a:t>Arial 20pt </a:t>
            </a:r>
          </a:p>
          <a:p>
            <a:pPr lvl="4"/>
            <a:r>
              <a:rPr lang="en-US" dirty="0"/>
              <a:t>Arial 20pt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9CBB91F-DEA0-4B10-BA5B-6F6730BF7DB1}"/>
              </a:ext>
            </a:extLst>
          </p:cNvPr>
          <p:cNvSpPr/>
          <p:nvPr/>
        </p:nvSpPr>
        <p:spPr>
          <a:xfrm>
            <a:off x="0" y="0"/>
            <a:ext cx="9144000" cy="1028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3BE5EAD-7101-4A5C-91EA-76D1064ED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944" y="377190"/>
            <a:ext cx="7991856" cy="473202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endParaRPr lang="en-US" dirty="0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0C6CEFB6-0A93-463B-A478-FF601D39B8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59368" y="4889754"/>
            <a:ext cx="256032" cy="10287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C7CA7E87-410D-4887-AABD-1ABCEA8A29C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871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5" r:id="rId13"/>
    <p:sldLayoutId id="2147483726" r:id="rId14"/>
    <p:sldLayoutId id="2147483729" r:id="rId15"/>
    <p:sldLayoutId id="2147483730" r:id="rId16"/>
    <p:sldLayoutId id="2147483731" r:id="rId17"/>
    <p:sldLayoutId id="2147483732" r:id="rId18"/>
    <p:sldLayoutId id="2147483733" r:id="rId19"/>
    <p:sldLayoutId id="2147483734" r:id="rId20"/>
    <p:sldLayoutId id="2147483735" r:id="rId21"/>
    <p:sldLayoutId id="2147483736" r:id="rId22"/>
    <p:sldLayoutId id="2147483737" r:id="rId23"/>
    <p:sldLayoutId id="2147483738" r:id="rId24"/>
    <p:sldLayoutId id="2147483739" r:id="rId25"/>
    <p:sldLayoutId id="2147483740" r:id="rId26"/>
    <p:sldLayoutId id="2147483742" r:id="rId27"/>
    <p:sldLayoutId id="2147483741" r:id="rId28"/>
    <p:sldLayoutId id="2147483743" r:id="rId29"/>
    <p:sldLayoutId id="2147483744" r:id="rId30"/>
    <p:sldLayoutId id="2147483745" r:id="rId31"/>
    <p:sldLayoutId id="2147483746" r:id="rId32"/>
    <p:sldLayoutId id="2147483747" r:id="rId33"/>
    <p:sldLayoutId id="2147483748" r:id="rId34"/>
    <p:sldLayoutId id="2147483750" r:id="rId35"/>
    <p:sldLayoutId id="2147483751" r:id="rId36"/>
    <p:sldLayoutId id="2147483752" r:id="rId37"/>
    <p:sldLayoutId id="2147483753" r:id="rId38"/>
    <p:sldLayoutId id="2147483754" r:id="rId39"/>
    <p:sldLayoutId id="2147483755" r:id="rId40"/>
    <p:sldLayoutId id="2147483756" r:id="rId41"/>
    <p:sldLayoutId id="2147483757" r:id="rId42"/>
    <p:sldLayoutId id="2147483759" r:id="rId43"/>
  </p:sldLayoutIdLst>
  <p:hf hdr="0" dt="0"/>
  <p:txStyles>
    <p:titleStyle>
      <a:lvl1pPr algn="l" defTabSz="685800" rtl="0" eaLnBrk="1" latinLnBrk="0" hangingPunct="1">
        <a:spcBef>
          <a:spcPct val="0"/>
        </a:spcBef>
        <a:buNone/>
        <a:tabLst>
          <a:tab pos="914400" algn="l"/>
        </a:tabLst>
        <a:defRPr sz="36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lnSpc>
          <a:spcPct val="150000"/>
        </a:lnSpc>
        <a:spcBef>
          <a:spcPts val="0"/>
        </a:spcBef>
        <a:buClr>
          <a:schemeClr val="tx1"/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ts val="675"/>
        </a:spcBef>
        <a:buClr>
          <a:schemeClr val="tx1"/>
        </a:buClr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ts val="675"/>
        </a:spcBef>
        <a:buClr>
          <a:schemeClr val="tx1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ts val="675"/>
        </a:spcBef>
        <a:buClr>
          <a:schemeClr val="tx1"/>
        </a:buClr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ts val="675"/>
        </a:spcBef>
        <a:buClr>
          <a:schemeClr val="tx1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64" userDrawn="1">
          <p15:clr>
            <a:srgbClr val="F26B43"/>
          </p15:clr>
        </p15:guide>
        <p15:guide id="4" orient="horz" pos="864">
          <p15:clr>
            <a:srgbClr val="F26B43"/>
          </p15:clr>
        </p15:guide>
        <p15:guide id="5" orient="horz" pos="3936">
          <p15:clr>
            <a:srgbClr val="F26B43"/>
          </p15:clr>
        </p15:guide>
        <p15:guide id="6" pos="440">
          <p15:clr>
            <a:srgbClr val="F26B43"/>
          </p15:clr>
        </p15:guide>
        <p15:guide id="7" pos="54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hyperlink" Target="http://www.liveandworkwell.com/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3.xml"/><Relationship Id="rId6" Type="http://schemas.openxmlformats.org/officeDocument/2006/relationships/hyperlink" Target="http://www.myuhc.com/" TargetMode="Externa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amhsa.gov/data/sites/default/files/NSDUH-DR-FFR2-2016/NSDUH-DR-FFR2-2016.pdf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ckinsey.com/industries/healthcare-systems-and-services/our-insights/returning-to-resilience-the-impact-of-covid-19-on-behavioral-health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3.xml"/><Relationship Id="rId5" Type="http://schemas.openxmlformats.org/officeDocument/2006/relationships/hyperlink" Target="https://thehill.com/homenews/state-watch/489894-coronavirus-outbreak-raises-threats-to-mental-health" TargetMode="External"/><Relationship Id="rId4" Type="http://schemas.openxmlformats.org/officeDocument/2006/relationships/hyperlink" Target="https://jamanetwork.com/journals/jamanetworkopen/fullarticle/2763229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ff.org/health-reform/issue-brief/the-implications-of-covid-19-for-mental-health-and-substance-use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3.xml"/><Relationship Id="rId4" Type="http://schemas.openxmlformats.org/officeDocument/2006/relationships/hyperlink" Target="https://www.nimh.nih.gov/health/statistics/major-depression.shtml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7D7A692-5A62-4808-ACDF-A203C9AD7D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Mental Health Matte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464281-A00E-4AA4-A926-28495382AE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Recognizing and Supporting the Mental Health Needs of Today</a:t>
            </a:r>
          </a:p>
          <a:p>
            <a:endParaRPr lang="en-US" dirty="0"/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440B3BC9-E59A-4530-AACA-77A7D53062D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t="26087" b="26087"/>
          <a:stretch>
            <a:fillRect/>
          </a:stretch>
        </p:blipFill>
        <p:spPr>
          <a:xfrm>
            <a:off x="0" y="796925"/>
            <a:ext cx="9144000" cy="2460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0165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94944" y="377190"/>
            <a:ext cx="7991856" cy="473202"/>
          </a:xfrm>
        </p:spPr>
        <p:txBody>
          <a:bodyPr/>
          <a:lstStyle/>
          <a:p>
            <a:r>
              <a:rPr lang="en-US" dirty="0"/>
              <a:t>Self Care Strategi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US" dirty="0">
                <a:solidFill>
                  <a:schemeClr val="accent1"/>
                </a:solidFill>
              </a:rPr>
              <a:t>Here are some tips for helping take care of your own mental health</a:t>
            </a:r>
          </a:p>
        </p:txBody>
      </p:sp>
      <p:grpSp>
        <p:nvGrpSpPr>
          <p:cNvPr id="58" name="Group 57"/>
          <p:cNvGrpSpPr>
            <a:grpSpLocks noChangeAspect="1"/>
          </p:cNvGrpSpPr>
          <p:nvPr/>
        </p:nvGrpSpPr>
        <p:grpSpPr>
          <a:xfrm>
            <a:off x="3081889" y="1451997"/>
            <a:ext cx="2811780" cy="3177154"/>
            <a:chOff x="2585185" y="1642383"/>
            <a:chExt cx="4083122" cy="4613699"/>
          </a:xfrm>
        </p:grpSpPr>
        <p:sp>
          <p:nvSpPr>
            <p:cNvPr id="45" name="Rectangle 44"/>
            <p:cNvSpPr/>
            <p:nvPr/>
          </p:nvSpPr>
          <p:spPr>
            <a:xfrm>
              <a:off x="2827827" y="1642383"/>
              <a:ext cx="3840480" cy="477905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11480" rtlCol="0" anchor="ctr"/>
            <a:lstStyle/>
            <a:p>
              <a:r>
                <a:rPr lang="en-US" sz="1050" b="1" dirty="0">
                  <a:solidFill>
                    <a:schemeClr val="tx1"/>
                  </a:solidFill>
                </a:rPr>
                <a:t>Focus on things you can control</a:t>
              </a: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2827827" y="2160031"/>
              <a:ext cx="3840480" cy="477905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11480" rtlCol="0" anchor="ctr"/>
            <a:lstStyle/>
            <a:p>
              <a:r>
                <a:rPr lang="en-US" sz="1050" b="1" dirty="0">
                  <a:solidFill>
                    <a:schemeClr val="tx1"/>
                  </a:solidFill>
                </a:rPr>
                <a:t>Take care of your body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2827827" y="2677678"/>
              <a:ext cx="3840480" cy="477905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11480" rtlCol="0" anchor="ctr"/>
            <a:lstStyle/>
            <a:p>
              <a:r>
                <a:rPr lang="en-US" sz="1050" b="1" dirty="0">
                  <a:solidFill>
                    <a:schemeClr val="tx1"/>
                  </a:solidFill>
                </a:rPr>
                <a:t>Make time to unwind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2827827" y="3195326"/>
              <a:ext cx="3840480" cy="477905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11480" rtlCol="0" anchor="ctr"/>
            <a:lstStyle/>
            <a:p>
              <a:r>
                <a:rPr lang="en-US" sz="1050" b="1" dirty="0">
                  <a:solidFill>
                    <a:schemeClr val="tx1"/>
                  </a:solidFill>
                </a:rPr>
                <a:t>Connect with others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2827827" y="3702190"/>
              <a:ext cx="3840480" cy="477905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11480" rtlCol="0" anchor="ctr"/>
            <a:lstStyle/>
            <a:p>
              <a:r>
                <a:rPr lang="en-US" sz="1050" b="1" dirty="0">
                  <a:solidFill>
                    <a:schemeClr val="tx1"/>
                  </a:solidFill>
                </a:rPr>
                <a:t>Set goals and priorities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2827827" y="4219837"/>
              <a:ext cx="3840480" cy="477905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11480" rtlCol="0" anchor="ctr"/>
            <a:lstStyle/>
            <a:p>
              <a:r>
                <a:rPr lang="en-US" sz="1050" b="1" dirty="0">
                  <a:solidFill>
                    <a:schemeClr val="tx1"/>
                  </a:solidFill>
                </a:rPr>
                <a:t>Take breaks from the news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2827827" y="4738644"/>
              <a:ext cx="3840480" cy="477905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11480" rtlCol="0" anchor="ctr"/>
            <a:lstStyle/>
            <a:p>
              <a:r>
                <a:rPr lang="en-US" sz="1050" b="1" dirty="0">
                  <a:solidFill>
                    <a:schemeClr val="tx1"/>
                  </a:solidFill>
                </a:rPr>
                <a:t>Be positive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2827827" y="5256292"/>
              <a:ext cx="3840480" cy="477905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11480" rtlCol="0" anchor="ctr"/>
            <a:lstStyle/>
            <a:p>
              <a:r>
                <a:rPr lang="en-US" sz="1050" b="1" dirty="0">
                  <a:solidFill>
                    <a:schemeClr val="tx1"/>
                  </a:solidFill>
                </a:rPr>
                <a:t>Have compassion</a:t>
              </a: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2827827" y="5778177"/>
              <a:ext cx="3840480" cy="477905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11480" rtlCol="0" anchor="ctr"/>
            <a:lstStyle/>
            <a:p>
              <a:r>
                <a:rPr lang="en-US" sz="1050" b="1" dirty="0">
                  <a:solidFill>
                    <a:schemeClr val="tx1"/>
                  </a:solidFill>
                </a:rPr>
                <a:t>Get help</a:t>
              </a:r>
            </a:p>
          </p:txBody>
        </p:sp>
        <p:sp>
          <p:nvSpPr>
            <p:cNvPr id="59" name="Rectangle 58"/>
            <p:cNvSpPr/>
            <p:nvPr/>
          </p:nvSpPr>
          <p:spPr>
            <a:xfrm>
              <a:off x="2791732" y="1642383"/>
              <a:ext cx="3840480" cy="477905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11480" rtlCol="0" anchor="ctr"/>
            <a:lstStyle/>
            <a:p>
              <a:r>
                <a:rPr lang="en-US" sz="1050" b="1" dirty="0">
                  <a:solidFill>
                    <a:schemeClr val="tx1"/>
                  </a:solidFill>
                </a:rPr>
                <a:t>Focus on things you can control</a:t>
              </a: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2791732" y="2160031"/>
              <a:ext cx="3840480" cy="477905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11480" rtlCol="0" anchor="ctr"/>
            <a:lstStyle/>
            <a:p>
              <a:r>
                <a:rPr lang="en-US" sz="1050" b="1" dirty="0">
                  <a:solidFill>
                    <a:schemeClr val="tx1"/>
                  </a:solidFill>
                </a:rPr>
                <a:t>Take care of your body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2791732" y="2677678"/>
              <a:ext cx="3840480" cy="477905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11480" rtlCol="0" anchor="ctr"/>
            <a:lstStyle/>
            <a:p>
              <a:r>
                <a:rPr lang="en-US" sz="1050" b="1" dirty="0">
                  <a:solidFill>
                    <a:schemeClr val="tx1"/>
                  </a:solidFill>
                </a:rPr>
                <a:t>Make time to unwind</a:t>
              </a: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2791732" y="3195326"/>
              <a:ext cx="3840480" cy="477905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11480" rtlCol="0" anchor="ctr"/>
            <a:lstStyle/>
            <a:p>
              <a:r>
                <a:rPr lang="en-US" sz="1050" b="1" dirty="0">
                  <a:solidFill>
                    <a:schemeClr val="tx1"/>
                  </a:solidFill>
                </a:rPr>
                <a:t>Connect with others</a:t>
              </a: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2791732" y="3702190"/>
              <a:ext cx="3840480" cy="477905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11480" rtlCol="0" anchor="ctr"/>
            <a:lstStyle/>
            <a:p>
              <a:r>
                <a:rPr lang="en-US" sz="1050" b="1" dirty="0">
                  <a:solidFill>
                    <a:schemeClr val="tx1"/>
                  </a:solidFill>
                </a:rPr>
                <a:t>Set goals and priorities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2791732" y="4219837"/>
              <a:ext cx="3840480" cy="477905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11480" rtlCol="0" anchor="ctr"/>
            <a:lstStyle/>
            <a:p>
              <a:r>
                <a:rPr lang="en-US" sz="1050" b="1" dirty="0">
                  <a:solidFill>
                    <a:schemeClr val="tx1"/>
                  </a:solidFill>
                </a:rPr>
                <a:t>Take breaks from the news</a:t>
              </a:r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46" name="Oval 45"/>
            <p:cNvSpPr/>
            <p:nvPr/>
          </p:nvSpPr>
          <p:spPr>
            <a:xfrm>
              <a:off x="2585185" y="1642383"/>
              <a:ext cx="485283" cy="477905"/>
            </a:xfrm>
            <a:prstGeom prst="ellipse">
              <a:avLst/>
            </a:prstGeom>
            <a:solidFill>
              <a:srgbClr val="EAEAEA"/>
            </a:solidFill>
            <a:ln w="381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38100" cap="flat" cmpd="sng" algn="ctr">
                  <a:solidFill>
                    <a:schemeClr val="lt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accent1"/>
                  </a:solidFill>
                </a:rPr>
                <a:t>1</a:t>
              </a:r>
            </a:p>
          </p:txBody>
        </p:sp>
        <p:sp>
          <p:nvSpPr>
            <p:cNvPr id="47" name="Oval 46"/>
            <p:cNvSpPr/>
            <p:nvPr/>
          </p:nvSpPr>
          <p:spPr>
            <a:xfrm>
              <a:off x="2622981" y="1679605"/>
              <a:ext cx="409690" cy="403461"/>
            </a:xfrm>
            <a:prstGeom prst="ellipse">
              <a:avLst/>
            </a:prstGeom>
            <a:noFill/>
            <a:ln w="38100" cap="flat" cmpd="sng" algn="ctr">
              <a:solidFill>
                <a:schemeClr val="l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350" dirty="0">
                <a:solidFill>
                  <a:schemeClr val="tx1"/>
                </a:solidFill>
              </a:endParaRPr>
            </a:p>
          </p:txBody>
        </p:sp>
        <p:sp>
          <p:nvSpPr>
            <p:cNvPr id="43" name="Oval 42"/>
            <p:cNvSpPr/>
            <p:nvPr/>
          </p:nvSpPr>
          <p:spPr>
            <a:xfrm>
              <a:off x="2585185" y="2160031"/>
              <a:ext cx="485283" cy="477905"/>
            </a:xfrm>
            <a:prstGeom prst="ellipse">
              <a:avLst/>
            </a:prstGeom>
            <a:solidFill>
              <a:srgbClr val="EAEAEA"/>
            </a:solidFill>
            <a:ln w="381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38100" cap="flat" cmpd="sng" algn="ctr">
                  <a:solidFill>
                    <a:schemeClr val="lt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accent1"/>
                  </a:solidFill>
                </a:rPr>
                <a:t>2</a:t>
              </a:r>
            </a:p>
          </p:txBody>
        </p:sp>
        <p:sp>
          <p:nvSpPr>
            <p:cNvPr id="44" name="Oval 43"/>
            <p:cNvSpPr/>
            <p:nvPr/>
          </p:nvSpPr>
          <p:spPr>
            <a:xfrm>
              <a:off x="2622981" y="2197253"/>
              <a:ext cx="409690" cy="403461"/>
            </a:xfrm>
            <a:prstGeom prst="ellipse">
              <a:avLst/>
            </a:prstGeom>
            <a:noFill/>
            <a:ln w="38100" cap="flat" cmpd="sng" algn="ctr">
              <a:solidFill>
                <a:schemeClr val="l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350" dirty="0">
                <a:solidFill>
                  <a:schemeClr val="tx1"/>
                </a:solidFill>
              </a:endParaRPr>
            </a:p>
          </p:txBody>
        </p:sp>
        <p:sp>
          <p:nvSpPr>
            <p:cNvPr id="40" name="Oval 39"/>
            <p:cNvSpPr/>
            <p:nvPr/>
          </p:nvSpPr>
          <p:spPr>
            <a:xfrm>
              <a:off x="2585185" y="2677678"/>
              <a:ext cx="485283" cy="477905"/>
            </a:xfrm>
            <a:prstGeom prst="ellipse">
              <a:avLst/>
            </a:prstGeom>
            <a:solidFill>
              <a:srgbClr val="EAEAEA"/>
            </a:solidFill>
            <a:ln w="381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38100" cap="flat" cmpd="sng" algn="ctr">
                  <a:solidFill>
                    <a:schemeClr val="lt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accent1"/>
                  </a:solidFill>
                </a:rPr>
                <a:t>3</a:t>
              </a:r>
            </a:p>
          </p:txBody>
        </p:sp>
        <p:sp>
          <p:nvSpPr>
            <p:cNvPr id="41" name="Oval 40"/>
            <p:cNvSpPr/>
            <p:nvPr/>
          </p:nvSpPr>
          <p:spPr>
            <a:xfrm>
              <a:off x="2622981" y="2714900"/>
              <a:ext cx="409690" cy="403461"/>
            </a:xfrm>
            <a:prstGeom prst="ellipse">
              <a:avLst/>
            </a:prstGeom>
            <a:noFill/>
            <a:ln w="38100" cap="flat" cmpd="sng" algn="ctr">
              <a:solidFill>
                <a:schemeClr val="l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2585185" y="3195326"/>
              <a:ext cx="485283" cy="477905"/>
            </a:xfrm>
            <a:prstGeom prst="ellipse">
              <a:avLst/>
            </a:prstGeom>
            <a:solidFill>
              <a:srgbClr val="EAEAEA"/>
            </a:solidFill>
            <a:ln w="381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38100" cap="flat" cmpd="sng" algn="ctr">
                  <a:solidFill>
                    <a:schemeClr val="lt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accent1"/>
                  </a:solidFill>
                </a:rPr>
                <a:t>4</a:t>
              </a:r>
            </a:p>
          </p:txBody>
        </p:sp>
        <p:sp>
          <p:nvSpPr>
            <p:cNvPr id="38" name="Oval 37"/>
            <p:cNvSpPr/>
            <p:nvPr/>
          </p:nvSpPr>
          <p:spPr>
            <a:xfrm>
              <a:off x="2622981" y="3232548"/>
              <a:ext cx="409690" cy="403461"/>
            </a:xfrm>
            <a:prstGeom prst="ellipse">
              <a:avLst/>
            </a:prstGeom>
            <a:noFill/>
            <a:ln w="38100" cap="flat" cmpd="sng" algn="ctr">
              <a:solidFill>
                <a:schemeClr val="l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350" dirty="0">
                <a:solidFill>
                  <a:schemeClr val="tx1"/>
                </a:solidFill>
              </a:endParaRPr>
            </a:p>
          </p:txBody>
        </p:sp>
        <p:sp>
          <p:nvSpPr>
            <p:cNvPr id="34" name="Oval 33"/>
            <p:cNvSpPr/>
            <p:nvPr/>
          </p:nvSpPr>
          <p:spPr>
            <a:xfrm>
              <a:off x="2585185" y="3702190"/>
              <a:ext cx="485283" cy="477905"/>
            </a:xfrm>
            <a:prstGeom prst="ellipse">
              <a:avLst/>
            </a:prstGeom>
            <a:solidFill>
              <a:srgbClr val="EAEAEA"/>
            </a:solidFill>
            <a:ln w="381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38100" cap="flat" cmpd="sng" algn="ctr">
                  <a:solidFill>
                    <a:schemeClr val="lt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accent1"/>
                  </a:solidFill>
                </a:rPr>
                <a:t>5</a:t>
              </a:r>
            </a:p>
          </p:txBody>
        </p:sp>
        <p:sp>
          <p:nvSpPr>
            <p:cNvPr id="35" name="Oval 34"/>
            <p:cNvSpPr/>
            <p:nvPr/>
          </p:nvSpPr>
          <p:spPr>
            <a:xfrm>
              <a:off x="2622981" y="3739412"/>
              <a:ext cx="409690" cy="403461"/>
            </a:xfrm>
            <a:prstGeom prst="ellipse">
              <a:avLst/>
            </a:prstGeom>
            <a:noFill/>
            <a:ln w="38100" cap="flat" cmpd="sng" algn="ctr">
              <a:solidFill>
                <a:schemeClr val="l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350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30"/>
            <p:cNvSpPr/>
            <p:nvPr/>
          </p:nvSpPr>
          <p:spPr>
            <a:xfrm>
              <a:off x="2585185" y="4219837"/>
              <a:ext cx="485283" cy="477905"/>
            </a:xfrm>
            <a:prstGeom prst="ellipse">
              <a:avLst/>
            </a:prstGeom>
            <a:solidFill>
              <a:srgbClr val="EAEAEA"/>
            </a:solidFill>
            <a:ln w="381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38100" cap="flat" cmpd="sng" algn="ctr">
                  <a:solidFill>
                    <a:schemeClr val="lt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accent1"/>
                  </a:solidFill>
                </a:rPr>
                <a:t>6</a:t>
              </a:r>
            </a:p>
          </p:txBody>
        </p:sp>
        <p:sp>
          <p:nvSpPr>
            <p:cNvPr id="32" name="Oval 31"/>
            <p:cNvSpPr/>
            <p:nvPr/>
          </p:nvSpPr>
          <p:spPr>
            <a:xfrm>
              <a:off x="2622981" y="4257059"/>
              <a:ext cx="409690" cy="403461"/>
            </a:xfrm>
            <a:prstGeom prst="ellipse">
              <a:avLst/>
            </a:prstGeom>
            <a:noFill/>
            <a:ln w="38100" cap="flat" cmpd="sng" algn="ctr">
              <a:solidFill>
                <a:schemeClr val="l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350" dirty="0">
                <a:solidFill>
                  <a:schemeClr val="tx1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2585185" y="4738644"/>
              <a:ext cx="485283" cy="477905"/>
            </a:xfrm>
            <a:prstGeom prst="ellipse">
              <a:avLst/>
            </a:prstGeom>
            <a:solidFill>
              <a:srgbClr val="EAEAEA"/>
            </a:solidFill>
            <a:ln w="381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38100" cap="flat" cmpd="sng" algn="ctr">
                  <a:solidFill>
                    <a:schemeClr val="lt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accent1"/>
                  </a:solidFill>
                </a:rPr>
                <a:t>7</a:t>
              </a:r>
            </a:p>
          </p:txBody>
        </p:sp>
        <p:sp>
          <p:nvSpPr>
            <p:cNvPr id="29" name="Oval 28"/>
            <p:cNvSpPr/>
            <p:nvPr/>
          </p:nvSpPr>
          <p:spPr>
            <a:xfrm>
              <a:off x="2622981" y="4775866"/>
              <a:ext cx="409690" cy="403461"/>
            </a:xfrm>
            <a:prstGeom prst="ellipse">
              <a:avLst/>
            </a:prstGeom>
            <a:noFill/>
            <a:ln w="38100" cap="flat" cmpd="sng" algn="ctr">
              <a:solidFill>
                <a:schemeClr val="l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35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/>
            <p:cNvSpPr/>
            <p:nvPr/>
          </p:nvSpPr>
          <p:spPr>
            <a:xfrm>
              <a:off x="2585185" y="5256292"/>
              <a:ext cx="485283" cy="477905"/>
            </a:xfrm>
            <a:prstGeom prst="ellipse">
              <a:avLst/>
            </a:prstGeom>
            <a:solidFill>
              <a:srgbClr val="EAEAEA"/>
            </a:solidFill>
            <a:ln w="381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38100" cap="flat" cmpd="sng" algn="ctr">
                  <a:solidFill>
                    <a:schemeClr val="lt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accent1"/>
                  </a:solidFill>
                </a:rPr>
                <a:t>8</a:t>
              </a:r>
            </a:p>
          </p:txBody>
        </p:sp>
        <p:sp>
          <p:nvSpPr>
            <p:cNvPr id="26" name="Oval 25"/>
            <p:cNvSpPr/>
            <p:nvPr/>
          </p:nvSpPr>
          <p:spPr>
            <a:xfrm>
              <a:off x="2622981" y="5293514"/>
              <a:ext cx="409690" cy="403461"/>
            </a:xfrm>
            <a:prstGeom prst="ellipse">
              <a:avLst/>
            </a:prstGeom>
            <a:noFill/>
            <a:ln w="38100" cap="flat" cmpd="sng" algn="ctr">
              <a:solidFill>
                <a:schemeClr val="l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350" dirty="0">
                <a:solidFill>
                  <a:schemeClr val="tx1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2585185" y="5778177"/>
              <a:ext cx="485283" cy="477905"/>
            </a:xfrm>
            <a:prstGeom prst="ellipse">
              <a:avLst/>
            </a:prstGeom>
            <a:solidFill>
              <a:srgbClr val="EAEAEA"/>
            </a:solidFill>
            <a:ln w="381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38100" cap="flat" cmpd="sng" algn="ctr">
                  <a:solidFill>
                    <a:schemeClr val="lt1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solidFill>
                    <a:schemeClr val="accent1"/>
                  </a:solidFill>
                </a:rPr>
                <a:t>9</a:t>
              </a:r>
            </a:p>
          </p:txBody>
        </p:sp>
        <p:sp>
          <p:nvSpPr>
            <p:cNvPr id="54" name="Oval 53"/>
            <p:cNvSpPr/>
            <p:nvPr/>
          </p:nvSpPr>
          <p:spPr>
            <a:xfrm>
              <a:off x="2622981" y="5815399"/>
              <a:ext cx="409690" cy="403461"/>
            </a:xfrm>
            <a:prstGeom prst="ellipse">
              <a:avLst/>
            </a:prstGeom>
            <a:noFill/>
            <a:ln w="38100" cap="flat" cmpd="sng" algn="ctr">
              <a:solidFill>
                <a:schemeClr val="l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350" dirty="0">
                <a:solidFill>
                  <a:schemeClr val="tx1"/>
                </a:solidFill>
              </a:endParaRP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A2ECD8-AD1A-4A0D-A736-16CDD138C83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6930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94944" y="377190"/>
            <a:ext cx="7991856" cy="473202"/>
          </a:xfrm>
        </p:spPr>
        <p:txBody>
          <a:bodyPr/>
          <a:lstStyle/>
          <a:p>
            <a:r>
              <a:rPr lang="en-US" dirty="0"/>
              <a:t>What can you do for others?</a:t>
            </a:r>
          </a:p>
        </p:txBody>
      </p:sp>
      <p:sp>
        <p:nvSpPr>
          <p:cNvPr id="57" name="Text Placeholder 56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>
                <a:solidFill>
                  <a:schemeClr val="accent1"/>
                </a:solidFill>
              </a:rPr>
              <a:t>Employees can support each other by listening more effectively, showing compassion, and encouraging each other.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1600200" y="1600200"/>
            <a:ext cx="2919354" cy="2743200"/>
            <a:chOff x="4718128" y="2209800"/>
            <a:chExt cx="3892472" cy="3657600"/>
          </a:xfrm>
        </p:grpSpPr>
        <p:sp>
          <p:nvSpPr>
            <p:cNvPr id="64" name="Content Placeholder 2"/>
            <p:cNvSpPr txBox="1">
              <a:spLocks/>
            </p:cNvSpPr>
            <p:nvPr/>
          </p:nvSpPr>
          <p:spPr>
            <a:xfrm>
              <a:off x="4718128" y="2865582"/>
              <a:ext cx="3749040" cy="3001818"/>
            </a:xfrm>
            <a:prstGeom prst="rect">
              <a:avLst/>
            </a:prstGeom>
            <a:solidFill>
              <a:sysClr val="window" lastClr="FFFFFF"/>
            </a:solidFill>
            <a:ln w="12700">
              <a:noFill/>
            </a:ln>
            <a:effectLst>
              <a:outerShdw blurRad="136525" dir="2700000" algn="tl" rotWithShape="0">
                <a:srgbClr val="000000">
                  <a:alpha val="35000"/>
                </a:srgbClr>
              </a:outerShdw>
            </a:effectLst>
          </p:spPr>
          <p:txBody>
            <a:bodyPr vert="horz" lIns="137160" tIns="617220" rIns="137160" bIns="34290" rtlCol="0">
              <a:noAutofit/>
            </a:bodyPr>
            <a:lstStyle>
              <a:lvl1pPr marL="171450" indent="-171450" algn="l" defTabSz="914400" rtl="0" eaLnBrk="1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300"/>
                </a:spcAft>
                <a:buClr>
                  <a:schemeClr val="accent1"/>
                </a:buClr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00050" indent="-171450" algn="l" defTabSz="914400" rtl="0" eaLnBrk="1" latinLnBrk="0" hangingPunct="1">
                <a:lnSpc>
                  <a:spcPct val="95000"/>
                </a:lnSpc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571500" indent="-114300" algn="l" defTabSz="914400" rtl="0" eaLnBrk="1" latinLnBrk="0" hangingPunct="1">
                <a:lnSpc>
                  <a:spcPct val="95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Arial" pitchFamily="34" charset="0"/>
                <a:buChar char="•"/>
                <a:defRPr sz="1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857250" indent="-171450" algn="l" defTabSz="914400" rtl="0" eaLnBrk="1" latinLnBrk="0" hangingPunct="1">
                <a:lnSpc>
                  <a:spcPct val="95000"/>
                </a:lnSpc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–"/>
                <a:defRPr sz="1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028700" indent="-114300" algn="l" defTabSz="914400" rtl="0" eaLnBrk="1" latinLnBrk="0" hangingPunct="1">
                <a:lnSpc>
                  <a:spcPct val="95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Arial" pitchFamily="34" charset="0"/>
                <a:buChar char="•"/>
                <a:tabLst/>
                <a:defRPr sz="1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685800">
                <a:spcBef>
                  <a:spcPts val="450"/>
                </a:spcBef>
                <a:spcAft>
                  <a:spcPts val="225"/>
                </a:spcAft>
                <a:buClrTx/>
                <a:buNone/>
                <a:defRPr/>
              </a:pPr>
              <a:endParaRPr lang="en-US" sz="1050" dirty="0">
                <a:solidFill>
                  <a:srgbClr val="53565A"/>
                </a:solidFill>
              </a:endParaRPr>
            </a:p>
          </p:txBody>
        </p:sp>
        <p:sp>
          <p:nvSpPr>
            <p:cNvPr id="66" name="Content Placeholder 2"/>
            <p:cNvSpPr txBox="1">
              <a:spLocks/>
            </p:cNvSpPr>
            <p:nvPr/>
          </p:nvSpPr>
          <p:spPr>
            <a:xfrm>
              <a:off x="4718128" y="2209800"/>
              <a:ext cx="3749040" cy="602676"/>
            </a:xfrm>
            <a:prstGeom prst="rect">
              <a:avLst/>
            </a:prstGeom>
            <a:solidFill>
              <a:schemeClr val="accent1"/>
            </a:solidFill>
            <a:ln w="12700">
              <a:noFill/>
            </a:ln>
            <a:effectLst>
              <a:outerShdw blurRad="136525" dir="2700000" algn="tl" rotWithShape="0">
                <a:srgbClr val="000000">
                  <a:alpha val="35000"/>
                </a:srgbClr>
              </a:outerShdw>
            </a:effectLst>
          </p:spPr>
          <p:txBody>
            <a:bodyPr vert="horz" lIns="137160" tIns="68580" rIns="137160" bIns="68580" rtlCol="0" anchor="ctr">
              <a:no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95000"/>
                </a:lnSpc>
                <a:spcBef>
                  <a:spcPts val="60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kumimoji="0" sz="3200" b="1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defRPr>
              </a:lvl1pPr>
              <a:lvl2pPr marL="400050" indent="-171450">
                <a:lnSpc>
                  <a:spcPct val="95000"/>
                </a:lnSpc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–"/>
                <a:defRPr sz="1600">
                  <a:latin typeface="Arial" pitchFamily="34" charset="0"/>
                  <a:cs typeface="Arial" pitchFamily="34" charset="0"/>
                </a:defRPr>
              </a:lvl2pPr>
              <a:lvl3pPr marL="571500" indent="-114300">
                <a:lnSpc>
                  <a:spcPct val="95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Arial" pitchFamily="34" charset="0"/>
                <a:buChar char="•"/>
                <a:defRPr sz="1400">
                  <a:latin typeface="Arial" pitchFamily="34" charset="0"/>
                  <a:cs typeface="Arial" pitchFamily="34" charset="0"/>
                </a:defRPr>
              </a:lvl3pPr>
              <a:lvl4pPr marL="857250" indent="-171450">
                <a:lnSpc>
                  <a:spcPct val="95000"/>
                </a:lnSpc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–"/>
                <a:defRPr sz="1400">
                  <a:latin typeface="Arial" pitchFamily="34" charset="0"/>
                  <a:cs typeface="Arial" pitchFamily="34" charset="0"/>
                </a:defRPr>
              </a:lvl4pPr>
              <a:lvl5pPr marL="1028700" indent="-114300">
                <a:lnSpc>
                  <a:spcPct val="95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Arial" pitchFamily="34" charset="0"/>
                <a:buChar char="•"/>
                <a:tabLst/>
                <a:defRPr sz="1400">
                  <a:latin typeface="Arial" pitchFamily="34" charset="0"/>
                  <a:cs typeface="Arial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350" dirty="0"/>
                <a:t>What not to do</a:t>
              </a:r>
            </a:p>
          </p:txBody>
        </p:sp>
        <p:sp>
          <p:nvSpPr>
            <p:cNvPr id="68" name="Manual Operation 6"/>
            <p:cNvSpPr/>
            <p:nvPr/>
          </p:nvSpPr>
          <p:spPr>
            <a:xfrm>
              <a:off x="4744704" y="3163344"/>
              <a:ext cx="3865896" cy="248392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09538" tIns="0" rIns="111401" bIns="0" numCol="1" spcCol="1270" anchor="t" anchorCtr="0">
              <a:noAutofit/>
            </a:bodyPr>
            <a:lstStyle/>
            <a:p>
              <a:pPr marL="411480" lvl="1" defTabSz="600075">
                <a:lnSpc>
                  <a:spcPct val="90000"/>
                </a:lnSpc>
                <a:spcBef>
                  <a:spcPts val="1350"/>
                </a:spcBef>
                <a:spcAft>
                  <a:spcPts val="450"/>
                </a:spcAft>
              </a:pPr>
              <a:r>
                <a:rPr lang="en-US" sz="1200" dirty="0">
                  <a:solidFill>
                    <a:srgbClr val="53565A"/>
                  </a:solidFill>
                </a:rPr>
                <a:t>Don’t judge or criticize. </a:t>
              </a:r>
            </a:p>
            <a:p>
              <a:pPr marL="411480" lvl="1" defTabSz="600075">
                <a:lnSpc>
                  <a:spcPct val="90000"/>
                </a:lnSpc>
                <a:spcBef>
                  <a:spcPts val="1350"/>
                </a:spcBef>
                <a:spcAft>
                  <a:spcPts val="450"/>
                </a:spcAft>
              </a:pPr>
              <a:r>
                <a:rPr lang="en-US" sz="1200" dirty="0">
                  <a:solidFill>
                    <a:srgbClr val="53565A"/>
                  </a:solidFill>
                </a:rPr>
                <a:t>Avoid the tough-love approach.</a:t>
              </a:r>
            </a:p>
            <a:p>
              <a:pPr marL="411480" lvl="1" defTabSz="600075">
                <a:lnSpc>
                  <a:spcPct val="90000"/>
                </a:lnSpc>
                <a:spcBef>
                  <a:spcPts val="1350"/>
                </a:spcBef>
                <a:spcAft>
                  <a:spcPts val="450"/>
                </a:spcAft>
              </a:pPr>
              <a:r>
                <a:rPr lang="en-US" sz="1200" dirty="0">
                  <a:solidFill>
                    <a:srgbClr val="53565A"/>
                  </a:solidFill>
                </a:rPr>
                <a:t>Don’t minimize the pain.</a:t>
              </a:r>
            </a:p>
            <a:p>
              <a:pPr marL="411480" lvl="1" defTabSz="600075">
                <a:lnSpc>
                  <a:spcPct val="90000"/>
                </a:lnSpc>
                <a:spcBef>
                  <a:spcPts val="1350"/>
                </a:spcBef>
                <a:spcAft>
                  <a:spcPts val="450"/>
                </a:spcAft>
              </a:pPr>
              <a:r>
                <a:rPr lang="en-US" sz="1200" kern="0" dirty="0">
                  <a:solidFill>
                    <a:srgbClr val="53565A"/>
                  </a:solidFill>
                </a:rPr>
                <a:t>Avoid offering advice.</a:t>
              </a:r>
            </a:p>
            <a:p>
              <a:pPr marL="411480" lvl="1" defTabSz="600075">
                <a:lnSpc>
                  <a:spcPct val="90000"/>
                </a:lnSpc>
                <a:spcBef>
                  <a:spcPts val="1350"/>
                </a:spcBef>
                <a:spcAft>
                  <a:spcPts val="450"/>
                </a:spcAft>
              </a:pPr>
              <a:r>
                <a:rPr lang="en-US" sz="1200" kern="0" dirty="0">
                  <a:solidFill>
                    <a:srgbClr val="53565A"/>
                  </a:solidFill>
                </a:rPr>
                <a:t>Avoid making comparisons.</a:t>
              </a:r>
            </a:p>
          </p:txBody>
        </p:sp>
        <p:grpSp>
          <p:nvGrpSpPr>
            <p:cNvPr id="69" name="Group 68"/>
            <p:cNvGrpSpPr/>
            <p:nvPr/>
          </p:nvGrpSpPr>
          <p:grpSpPr>
            <a:xfrm>
              <a:off x="4935877" y="3129479"/>
              <a:ext cx="413487" cy="315676"/>
              <a:chOff x="5139071" y="1381507"/>
              <a:chExt cx="413487" cy="315676"/>
            </a:xfrm>
          </p:grpSpPr>
          <p:sp>
            <p:nvSpPr>
              <p:cNvPr id="70" name="Rectangle 69"/>
              <p:cNvSpPr/>
              <p:nvPr/>
            </p:nvSpPr>
            <p:spPr>
              <a:xfrm>
                <a:off x="5139071" y="1398075"/>
                <a:ext cx="299108" cy="299108"/>
              </a:xfrm>
              <a:prstGeom prst="rect">
                <a:avLst/>
              </a:prstGeom>
              <a:noFill/>
              <a:ln w="57150" cap="flat" cmpd="sng" algn="ctr">
                <a:solidFill>
                  <a:srgbClr val="53565A"/>
                </a:solidFill>
                <a:prstDash val="solid"/>
              </a:ln>
              <a:effectLst/>
            </p:spPr>
            <p:txBody>
              <a:bodyPr lIns="34290" rIns="34290" rtlCol="0" anchor="ctr"/>
              <a:lstStyle/>
              <a:p>
                <a:pPr algn="ctr" defTabSz="685800">
                  <a:defRPr/>
                </a:pPr>
                <a:endParaRPr lang="en-US" sz="1200" kern="0" dirty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71" name="Freeform 70"/>
              <p:cNvSpPr/>
              <p:nvPr/>
            </p:nvSpPr>
            <p:spPr>
              <a:xfrm>
                <a:off x="5261519" y="1381507"/>
                <a:ext cx="291039" cy="219364"/>
              </a:xfrm>
              <a:custGeom>
                <a:avLst/>
                <a:gdLst>
                  <a:gd name="connsiteX0" fmla="*/ 0 w 346363"/>
                  <a:gd name="connsiteY0" fmla="*/ 115455 h 219364"/>
                  <a:gd name="connsiteX1" fmla="*/ 127000 w 346363"/>
                  <a:gd name="connsiteY1" fmla="*/ 219364 h 219364"/>
                  <a:gd name="connsiteX2" fmla="*/ 346363 w 346363"/>
                  <a:gd name="connsiteY2" fmla="*/ 0 h 219364"/>
                  <a:gd name="connsiteX0" fmla="*/ 0 w 339473"/>
                  <a:gd name="connsiteY0" fmla="*/ 127269 h 219364"/>
                  <a:gd name="connsiteX1" fmla="*/ 120110 w 339473"/>
                  <a:gd name="connsiteY1" fmla="*/ 219364 h 219364"/>
                  <a:gd name="connsiteX2" fmla="*/ 339473 w 339473"/>
                  <a:gd name="connsiteY2" fmla="*/ 0 h 219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473" h="219364">
                    <a:moveTo>
                      <a:pt x="0" y="127269"/>
                    </a:moveTo>
                    <a:lnTo>
                      <a:pt x="120110" y="219364"/>
                    </a:lnTo>
                    <a:lnTo>
                      <a:pt x="339473" y="0"/>
                    </a:lnTo>
                  </a:path>
                </a:pathLst>
              </a:custGeom>
              <a:noFill/>
              <a:ln w="107950" cap="rnd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 dirty="0">
                  <a:solidFill>
                    <a:srgbClr val="53565A"/>
                  </a:solidFill>
                  <a:latin typeface="Arial"/>
                </a:endParaRPr>
              </a:p>
            </p:txBody>
          </p:sp>
          <p:sp>
            <p:nvSpPr>
              <p:cNvPr id="72" name="Freeform 71"/>
              <p:cNvSpPr/>
              <p:nvPr/>
            </p:nvSpPr>
            <p:spPr>
              <a:xfrm>
                <a:off x="5248524" y="1398046"/>
                <a:ext cx="291039" cy="219364"/>
              </a:xfrm>
              <a:custGeom>
                <a:avLst/>
                <a:gdLst>
                  <a:gd name="connsiteX0" fmla="*/ 0 w 346363"/>
                  <a:gd name="connsiteY0" fmla="*/ 115455 h 219364"/>
                  <a:gd name="connsiteX1" fmla="*/ 127000 w 346363"/>
                  <a:gd name="connsiteY1" fmla="*/ 219364 h 219364"/>
                  <a:gd name="connsiteX2" fmla="*/ 346363 w 346363"/>
                  <a:gd name="connsiteY2" fmla="*/ 0 h 219364"/>
                  <a:gd name="connsiteX0" fmla="*/ 0 w 339473"/>
                  <a:gd name="connsiteY0" fmla="*/ 127269 h 219364"/>
                  <a:gd name="connsiteX1" fmla="*/ 120110 w 339473"/>
                  <a:gd name="connsiteY1" fmla="*/ 219364 h 219364"/>
                  <a:gd name="connsiteX2" fmla="*/ 339473 w 339473"/>
                  <a:gd name="connsiteY2" fmla="*/ 0 h 219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473" h="219364">
                    <a:moveTo>
                      <a:pt x="0" y="127269"/>
                    </a:moveTo>
                    <a:lnTo>
                      <a:pt x="120110" y="219364"/>
                    </a:lnTo>
                    <a:lnTo>
                      <a:pt x="339473" y="0"/>
                    </a:lnTo>
                  </a:path>
                </a:pathLst>
              </a:custGeom>
              <a:noFill/>
              <a:ln w="57150" cap="rnd" cmpd="sng" algn="ctr">
                <a:solidFill>
                  <a:srgbClr val="E8772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 dirty="0">
                  <a:solidFill>
                    <a:srgbClr val="53565A"/>
                  </a:solidFill>
                  <a:latin typeface="Arial"/>
                </a:endParaRPr>
              </a:p>
            </p:txBody>
          </p:sp>
        </p:grpSp>
        <p:grpSp>
          <p:nvGrpSpPr>
            <p:cNvPr id="77" name="Group 76"/>
            <p:cNvGrpSpPr/>
            <p:nvPr/>
          </p:nvGrpSpPr>
          <p:grpSpPr>
            <a:xfrm>
              <a:off x="4935877" y="3637481"/>
              <a:ext cx="413487" cy="315676"/>
              <a:chOff x="5139071" y="1381507"/>
              <a:chExt cx="413487" cy="315676"/>
            </a:xfrm>
          </p:grpSpPr>
          <p:sp>
            <p:nvSpPr>
              <p:cNvPr id="78" name="Rectangle 77"/>
              <p:cNvSpPr/>
              <p:nvPr/>
            </p:nvSpPr>
            <p:spPr>
              <a:xfrm>
                <a:off x="5139071" y="1398075"/>
                <a:ext cx="299108" cy="299108"/>
              </a:xfrm>
              <a:prstGeom prst="rect">
                <a:avLst/>
              </a:prstGeom>
              <a:noFill/>
              <a:ln w="57150" cap="flat" cmpd="sng" algn="ctr">
                <a:solidFill>
                  <a:srgbClr val="53565A"/>
                </a:solidFill>
                <a:prstDash val="solid"/>
              </a:ln>
              <a:effectLst/>
            </p:spPr>
            <p:txBody>
              <a:bodyPr lIns="34290" rIns="34290" rtlCol="0" anchor="ctr"/>
              <a:lstStyle/>
              <a:p>
                <a:pPr algn="ctr" defTabSz="685800">
                  <a:defRPr/>
                </a:pPr>
                <a:endParaRPr lang="en-US" sz="1200" kern="0" dirty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79" name="Freeform 78"/>
              <p:cNvSpPr/>
              <p:nvPr/>
            </p:nvSpPr>
            <p:spPr>
              <a:xfrm>
                <a:off x="5261519" y="1381507"/>
                <a:ext cx="291039" cy="219364"/>
              </a:xfrm>
              <a:custGeom>
                <a:avLst/>
                <a:gdLst>
                  <a:gd name="connsiteX0" fmla="*/ 0 w 346363"/>
                  <a:gd name="connsiteY0" fmla="*/ 115455 h 219364"/>
                  <a:gd name="connsiteX1" fmla="*/ 127000 w 346363"/>
                  <a:gd name="connsiteY1" fmla="*/ 219364 h 219364"/>
                  <a:gd name="connsiteX2" fmla="*/ 346363 w 346363"/>
                  <a:gd name="connsiteY2" fmla="*/ 0 h 219364"/>
                  <a:gd name="connsiteX0" fmla="*/ 0 w 339473"/>
                  <a:gd name="connsiteY0" fmla="*/ 127269 h 219364"/>
                  <a:gd name="connsiteX1" fmla="*/ 120110 w 339473"/>
                  <a:gd name="connsiteY1" fmla="*/ 219364 h 219364"/>
                  <a:gd name="connsiteX2" fmla="*/ 339473 w 339473"/>
                  <a:gd name="connsiteY2" fmla="*/ 0 h 219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473" h="219364">
                    <a:moveTo>
                      <a:pt x="0" y="127269"/>
                    </a:moveTo>
                    <a:lnTo>
                      <a:pt x="120110" y="219364"/>
                    </a:lnTo>
                    <a:lnTo>
                      <a:pt x="339473" y="0"/>
                    </a:lnTo>
                  </a:path>
                </a:pathLst>
              </a:custGeom>
              <a:noFill/>
              <a:ln w="107950" cap="rnd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 dirty="0">
                  <a:solidFill>
                    <a:srgbClr val="53565A"/>
                  </a:solidFill>
                  <a:latin typeface="Arial"/>
                </a:endParaRPr>
              </a:p>
            </p:txBody>
          </p:sp>
          <p:sp>
            <p:nvSpPr>
              <p:cNvPr id="80" name="Freeform 79"/>
              <p:cNvSpPr/>
              <p:nvPr/>
            </p:nvSpPr>
            <p:spPr>
              <a:xfrm>
                <a:off x="5248524" y="1398046"/>
                <a:ext cx="291039" cy="219364"/>
              </a:xfrm>
              <a:custGeom>
                <a:avLst/>
                <a:gdLst>
                  <a:gd name="connsiteX0" fmla="*/ 0 w 346363"/>
                  <a:gd name="connsiteY0" fmla="*/ 115455 h 219364"/>
                  <a:gd name="connsiteX1" fmla="*/ 127000 w 346363"/>
                  <a:gd name="connsiteY1" fmla="*/ 219364 h 219364"/>
                  <a:gd name="connsiteX2" fmla="*/ 346363 w 346363"/>
                  <a:gd name="connsiteY2" fmla="*/ 0 h 219364"/>
                  <a:gd name="connsiteX0" fmla="*/ 0 w 339473"/>
                  <a:gd name="connsiteY0" fmla="*/ 127269 h 219364"/>
                  <a:gd name="connsiteX1" fmla="*/ 120110 w 339473"/>
                  <a:gd name="connsiteY1" fmla="*/ 219364 h 219364"/>
                  <a:gd name="connsiteX2" fmla="*/ 339473 w 339473"/>
                  <a:gd name="connsiteY2" fmla="*/ 0 h 219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473" h="219364">
                    <a:moveTo>
                      <a:pt x="0" y="127269"/>
                    </a:moveTo>
                    <a:lnTo>
                      <a:pt x="120110" y="219364"/>
                    </a:lnTo>
                    <a:lnTo>
                      <a:pt x="339473" y="0"/>
                    </a:lnTo>
                  </a:path>
                </a:pathLst>
              </a:custGeom>
              <a:noFill/>
              <a:ln w="57150" cap="rnd" cmpd="sng" algn="ctr">
                <a:solidFill>
                  <a:srgbClr val="E8772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 dirty="0">
                  <a:solidFill>
                    <a:srgbClr val="53565A"/>
                  </a:solidFill>
                  <a:latin typeface="Arial"/>
                </a:endParaRPr>
              </a:p>
            </p:txBody>
          </p:sp>
        </p:grpSp>
        <p:grpSp>
          <p:nvGrpSpPr>
            <p:cNvPr id="81" name="Group 80"/>
            <p:cNvGrpSpPr/>
            <p:nvPr/>
          </p:nvGrpSpPr>
          <p:grpSpPr>
            <a:xfrm>
              <a:off x="4935877" y="4157024"/>
              <a:ext cx="413487" cy="315676"/>
              <a:chOff x="5139071" y="1381507"/>
              <a:chExt cx="413487" cy="315676"/>
            </a:xfrm>
          </p:grpSpPr>
          <p:sp>
            <p:nvSpPr>
              <p:cNvPr id="82" name="Rectangle 81"/>
              <p:cNvSpPr/>
              <p:nvPr/>
            </p:nvSpPr>
            <p:spPr>
              <a:xfrm>
                <a:off x="5139071" y="1398075"/>
                <a:ext cx="299108" cy="299108"/>
              </a:xfrm>
              <a:prstGeom prst="rect">
                <a:avLst/>
              </a:prstGeom>
              <a:noFill/>
              <a:ln w="57150" cap="flat" cmpd="sng" algn="ctr">
                <a:solidFill>
                  <a:srgbClr val="53565A"/>
                </a:solidFill>
                <a:prstDash val="solid"/>
              </a:ln>
              <a:effectLst/>
            </p:spPr>
            <p:txBody>
              <a:bodyPr lIns="34290" rIns="34290" rtlCol="0" anchor="ctr"/>
              <a:lstStyle/>
              <a:p>
                <a:pPr algn="ctr" defTabSz="685800">
                  <a:defRPr/>
                </a:pPr>
                <a:endParaRPr lang="en-US" sz="1200" kern="0" dirty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83" name="Freeform 82"/>
              <p:cNvSpPr/>
              <p:nvPr/>
            </p:nvSpPr>
            <p:spPr>
              <a:xfrm>
                <a:off x="5261519" y="1381507"/>
                <a:ext cx="291039" cy="219364"/>
              </a:xfrm>
              <a:custGeom>
                <a:avLst/>
                <a:gdLst>
                  <a:gd name="connsiteX0" fmla="*/ 0 w 346363"/>
                  <a:gd name="connsiteY0" fmla="*/ 115455 h 219364"/>
                  <a:gd name="connsiteX1" fmla="*/ 127000 w 346363"/>
                  <a:gd name="connsiteY1" fmla="*/ 219364 h 219364"/>
                  <a:gd name="connsiteX2" fmla="*/ 346363 w 346363"/>
                  <a:gd name="connsiteY2" fmla="*/ 0 h 219364"/>
                  <a:gd name="connsiteX0" fmla="*/ 0 w 339473"/>
                  <a:gd name="connsiteY0" fmla="*/ 127269 h 219364"/>
                  <a:gd name="connsiteX1" fmla="*/ 120110 w 339473"/>
                  <a:gd name="connsiteY1" fmla="*/ 219364 h 219364"/>
                  <a:gd name="connsiteX2" fmla="*/ 339473 w 339473"/>
                  <a:gd name="connsiteY2" fmla="*/ 0 h 219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473" h="219364">
                    <a:moveTo>
                      <a:pt x="0" y="127269"/>
                    </a:moveTo>
                    <a:lnTo>
                      <a:pt x="120110" y="219364"/>
                    </a:lnTo>
                    <a:lnTo>
                      <a:pt x="339473" y="0"/>
                    </a:lnTo>
                  </a:path>
                </a:pathLst>
              </a:custGeom>
              <a:noFill/>
              <a:ln w="107950" cap="rnd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 dirty="0">
                  <a:solidFill>
                    <a:srgbClr val="53565A"/>
                  </a:solidFill>
                  <a:latin typeface="Arial"/>
                </a:endParaRPr>
              </a:p>
            </p:txBody>
          </p:sp>
          <p:sp>
            <p:nvSpPr>
              <p:cNvPr id="84" name="Freeform 83"/>
              <p:cNvSpPr/>
              <p:nvPr/>
            </p:nvSpPr>
            <p:spPr>
              <a:xfrm>
                <a:off x="5248524" y="1398046"/>
                <a:ext cx="291039" cy="219364"/>
              </a:xfrm>
              <a:custGeom>
                <a:avLst/>
                <a:gdLst>
                  <a:gd name="connsiteX0" fmla="*/ 0 w 346363"/>
                  <a:gd name="connsiteY0" fmla="*/ 115455 h 219364"/>
                  <a:gd name="connsiteX1" fmla="*/ 127000 w 346363"/>
                  <a:gd name="connsiteY1" fmla="*/ 219364 h 219364"/>
                  <a:gd name="connsiteX2" fmla="*/ 346363 w 346363"/>
                  <a:gd name="connsiteY2" fmla="*/ 0 h 219364"/>
                  <a:gd name="connsiteX0" fmla="*/ 0 w 339473"/>
                  <a:gd name="connsiteY0" fmla="*/ 127269 h 219364"/>
                  <a:gd name="connsiteX1" fmla="*/ 120110 w 339473"/>
                  <a:gd name="connsiteY1" fmla="*/ 219364 h 219364"/>
                  <a:gd name="connsiteX2" fmla="*/ 339473 w 339473"/>
                  <a:gd name="connsiteY2" fmla="*/ 0 h 219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473" h="219364">
                    <a:moveTo>
                      <a:pt x="0" y="127269"/>
                    </a:moveTo>
                    <a:lnTo>
                      <a:pt x="120110" y="219364"/>
                    </a:lnTo>
                    <a:lnTo>
                      <a:pt x="339473" y="0"/>
                    </a:lnTo>
                  </a:path>
                </a:pathLst>
              </a:custGeom>
              <a:noFill/>
              <a:ln w="57150" cap="rnd" cmpd="sng" algn="ctr">
                <a:solidFill>
                  <a:srgbClr val="E8772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 dirty="0">
                  <a:solidFill>
                    <a:srgbClr val="53565A"/>
                  </a:solidFill>
                  <a:latin typeface="Arial"/>
                </a:endParaRPr>
              </a:p>
            </p:txBody>
          </p:sp>
        </p:grpSp>
        <p:grpSp>
          <p:nvGrpSpPr>
            <p:cNvPr id="85" name="Group 84"/>
            <p:cNvGrpSpPr/>
            <p:nvPr/>
          </p:nvGrpSpPr>
          <p:grpSpPr>
            <a:xfrm>
              <a:off x="4935877" y="4667332"/>
              <a:ext cx="413487" cy="315676"/>
              <a:chOff x="5139071" y="1381507"/>
              <a:chExt cx="413487" cy="315676"/>
            </a:xfrm>
          </p:grpSpPr>
          <p:sp>
            <p:nvSpPr>
              <p:cNvPr id="86" name="Rectangle 85"/>
              <p:cNvSpPr/>
              <p:nvPr/>
            </p:nvSpPr>
            <p:spPr>
              <a:xfrm>
                <a:off x="5139071" y="1398075"/>
                <a:ext cx="299108" cy="299108"/>
              </a:xfrm>
              <a:prstGeom prst="rect">
                <a:avLst/>
              </a:prstGeom>
              <a:noFill/>
              <a:ln w="57150" cap="flat" cmpd="sng" algn="ctr">
                <a:solidFill>
                  <a:srgbClr val="53565A"/>
                </a:solidFill>
                <a:prstDash val="solid"/>
              </a:ln>
              <a:effectLst/>
            </p:spPr>
            <p:txBody>
              <a:bodyPr lIns="34290" rIns="34290" rtlCol="0" anchor="ctr"/>
              <a:lstStyle/>
              <a:p>
                <a:pPr algn="ctr" defTabSz="685800">
                  <a:defRPr/>
                </a:pPr>
                <a:endParaRPr lang="en-US" sz="1200" kern="0" dirty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87" name="Freeform 86"/>
              <p:cNvSpPr/>
              <p:nvPr/>
            </p:nvSpPr>
            <p:spPr>
              <a:xfrm>
                <a:off x="5261519" y="1381507"/>
                <a:ext cx="291039" cy="219364"/>
              </a:xfrm>
              <a:custGeom>
                <a:avLst/>
                <a:gdLst>
                  <a:gd name="connsiteX0" fmla="*/ 0 w 346363"/>
                  <a:gd name="connsiteY0" fmla="*/ 115455 h 219364"/>
                  <a:gd name="connsiteX1" fmla="*/ 127000 w 346363"/>
                  <a:gd name="connsiteY1" fmla="*/ 219364 h 219364"/>
                  <a:gd name="connsiteX2" fmla="*/ 346363 w 346363"/>
                  <a:gd name="connsiteY2" fmla="*/ 0 h 219364"/>
                  <a:gd name="connsiteX0" fmla="*/ 0 w 339473"/>
                  <a:gd name="connsiteY0" fmla="*/ 127269 h 219364"/>
                  <a:gd name="connsiteX1" fmla="*/ 120110 w 339473"/>
                  <a:gd name="connsiteY1" fmla="*/ 219364 h 219364"/>
                  <a:gd name="connsiteX2" fmla="*/ 339473 w 339473"/>
                  <a:gd name="connsiteY2" fmla="*/ 0 h 219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473" h="219364">
                    <a:moveTo>
                      <a:pt x="0" y="127269"/>
                    </a:moveTo>
                    <a:lnTo>
                      <a:pt x="120110" y="219364"/>
                    </a:lnTo>
                    <a:lnTo>
                      <a:pt x="339473" y="0"/>
                    </a:lnTo>
                  </a:path>
                </a:pathLst>
              </a:custGeom>
              <a:noFill/>
              <a:ln w="107950" cap="rnd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 dirty="0">
                  <a:solidFill>
                    <a:srgbClr val="53565A"/>
                  </a:solidFill>
                  <a:latin typeface="Arial"/>
                </a:endParaRPr>
              </a:p>
            </p:txBody>
          </p:sp>
          <p:sp>
            <p:nvSpPr>
              <p:cNvPr id="88" name="Freeform 87"/>
              <p:cNvSpPr/>
              <p:nvPr/>
            </p:nvSpPr>
            <p:spPr>
              <a:xfrm>
                <a:off x="5248524" y="1398046"/>
                <a:ext cx="291039" cy="219364"/>
              </a:xfrm>
              <a:custGeom>
                <a:avLst/>
                <a:gdLst>
                  <a:gd name="connsiteX0" fmla="*/ 0 w 346363"/>
                  <a:gd name="connsiteY0" fmla="*/ 115455 h 219364"/>
                  <a:gd name="connsiteX1" fmla="*/ 127000 w 346363"/>
                  <a:gd name="connsiteY1" fmla="*/ 219364 h 219364"/>
                  <a:gd name="connsiteX2" fmla="*/ 346363 w 346363"/>
                  <a:gd name="connsiteY2" fmla="*/ 0 h 219364"/>
                  <a:gd name="connsiteX0" fmla="*/ 0 w 339473"/>
                  <a:gd name="connsiteY0" fmla="*/ 127269 h 219364"/>
                  <a:gd name="connsiteX1" fmla="*/ 120110 w 339473"/>
                  <a:gd name="connsiteY1" fmla="*/ 219364 h 219364"/>
                  <a:gd name="connsiteX2" fmla="*/ 339473 w 339473"/>
                  <a:gd name="connsiteY2" fmla="*/ 0 h 219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473" h="219364">
                    <a:moveTo>
                      <a:pt x="0" y="127269"/>
                    </a:moveTo>
                    <a:lnTo>
                      <a:pt x="120110" y="219364"/>
                    </a:lnTo>
                    <a:lnTo>
                      <a:pt x="339473" y="0"/>
                    </a:lnTo>
                  </a:path>
                </a:pathLst>
              </a:custGeom>
              <a:noFill/>
              <a:ln w="57150" cap="rnd" cmpd="sng" algn="ctr">
                <a:solidFill>
                  <a:srgbClr val="E8772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 dirty="0">
                  <a:solidFill>
                    <a:srgbClr val="53565A"/>
                  </a:solidFill>
                  <a:latin typeface="Arial"/>
                </a:endParaRPr>
              </a:p>
            </p:txBody>
          </p:sp>
        </p:grpSp>
        <p:grpSp>
          <p:nvGrpSpPr>
            <p:cNvPr id="89" name="Group 88"/>
            <p:cNvGrpSpPr/>
            <p:nvPr/>
          </p:nvGrpSpPr>
          <p:grpSpPr>
            <a:xfrm>
              <a:off x="4935877" y="5177651"/>
              <a:ext cx="413487" cy="315676"/>
              <a:chOff x="5139071" y="1381507"/>
              <a:chExt cx="413487" cy="315676"/>
            </a:xfrm>
          </p:grpSpPr>
          <p:sp>
            <p:nvSpPr>
              <p:cNvPr id="90" name="Rectangle 89"/>
              <p:cNvSpPr/>
              <p:nvPr/>
            </p:nvSpPr>
            <p:spPr>
              <a:xfrm>
                <a:off x="5139071" y="1398075"/>
                <a:ext cx="299108" cy="299108"/>
              </a:xfrm>
              <a:prstGeom prst="rect">
                <a:avLst/>
              </a:prstGeom>
              <a:noFill/>
              <a:ln w="57150" cap="flat" cmpd="sng" algn="ctr">
                <a:solidFill>
                  <a:srgbClr val="53565A"/>
                </a:solidFill>
                <a:prstDash val="solid"/>
              </a:ln>
              <a:effectLst/>
            </p:spPr>
            <p:txBody>
              <a:bodyPr lIns="34290" rIns="34290" rtlCol="0" anchor="ctr"/>
              <a:lstStyle/>
              <a:p>
                <a:pPr algn="ctr" defTabSz="685800">
                  <a:defRPr/>
                </a:pPr>
                <a:endParaRPr lang="en-US" sz="1200" kern="0" dirty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91" name="Freeform 90"/>
              <p:cNvSpPr/>
              <p:nvPr/>
            </p:nvSpPr>
            <p:spPr>
              <a:xfrm>
                <a:off x="5261519" y="1381507"/>
                <a:ext cx="291039" cy="219364"/>
              </a:xfrm>
              <a:custGeom>
                <a:avLst/>
                <a:gdLst>
                  <a:gd name="connsiteX0" fmla="*/ 0 w 346363"/>
                  <a:gd name="connsiteY0" fmla="*/ 115455 h 219364"/>
                  <a:gd name="connsiteX1" fmla="*/ 127000 w 346363"/>
                  <a:gd name="connsiteY1" fmla="*/ 219364 h 219364"/>
                  <a:gd name="connsiteX2" fmla="*/ 346363 w 346363"/>
                  <a:gd name="connsiteY2" fmla="*/ 0 h 219364"/>
                  <a:gd name="connsiteX0" fmla="*/ 0 w 339473"/>
                  <a:gd name="connsiteY0" fmla="*/ 127269 h 219364"/>
                  <a:gd name="connsiteX1" fmla="*/ 120110 w 339473"/>
                  <a:gd name="connsiteY1" fmla="*/ 219364 h 219364"/>
                  <a:gd name="connsiteX2" fmla="*/ 339473 w 339473"/>
                  <a:gd name="connsiteY2" fmla="*/ 0 h 219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473" h="219364">
                    <a:moveTo>
                      <a:pt x="0" y="127269"/>
                    </a:moveTo>
                    <a:lnTo>
                      <a:pt x="120110" y="219364"/>
                    </a:lnTo>
                    <a:lnTo>
                      <a:pt x="339473" y="0"/>
                    </a:lnTo>
                  </a:path>
                </a:pathLst>
              </a:custGeom>
              <a:noFill/>
              <a:ln w="107950" cap="rnd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 dirty="0">
                  <a:solidFill>
                    <a:srgbClr val="53565A"/>
                  </a:solidFill>
                  <a:latin typeface="Arial"/>
                </a:endParaRPr>
              </a:p>
            </p:txBody>
          </p:sp>
          <p:sp>
            <p:nvSpPr>
              <p:cNvPr id="92" name="Freeform 91"/>
              <p:cNvSpPr/>
              <p:nvPr/>
            </p:nvSpPr>
            <p:spPr>
              <a:xfrm>
                <a:off x="5248524" y="1398046"/>
                <a:ext cx="291039" cy="219364"/>
              </a:xfrm>
              <a:custGeom>
                <a:avLst/>
                <a:gdLst>
                  <a:gd name="connsiteX0" fmla="*/ 0 w 346363"/>
                  <a:gd name="connsiteY0" fmla="*/ 115455 h 219364"/>
                  <a:gd name="connsiteX1" fmla="*/ 127000 w 346363"/>
                  <a:gd name="connsiteY1" fmla="*/ 219364 h 219364"/>
                  <a:gd name="connsiteX2" fmla="*/ 346363 w 346363"/>
                  <a:gd name="connsiteY2" fmla="*/ 0 h 219364"/>
                  <a:gd name="connsiteX0" fmla="*/ 0 w 339473"/>
                  <a:gd name="connsiteY0" fmla="*/ 127269 h 219364"/>
                  <a:gd name="connsiteX1" fmla="*/ 120110 w 339473"/>
                  <a:gd name="connsiteY1" fmla="*/ 219364 h 219364"/>
                  <a:gd name="connsiteX2" fmla="*/ 339473 w 339473"/>
                  <a:gd name="connsiteY2" fmla="*/ 0 h 219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473" h="219364">
                    <a:moveTo>
                      <a:pt x="0" y="127269"/>
                    </a:moveTo>
                    <a:lnTo>
                      <a:pt x="120110" y="219364"/>
                    </a:lnTo>
                    <a:lnTo>
                      <a:pt x="339473" y="0"/>
                    </a:lnTo>
                  </a:path>
                </a:pathLst>
              </a:custGeom>
              <a:noFill/>
              <a:ln w="57150" cap="rnd" cmpd="sng" algn="ctr">
                <a:solidFill>
                  <a:srgbClr val="E8772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 dirty="0">
                  <a:solidFill>
                    <a:srgbClr val="53565A"/>
                  </a:solidFill>
                  <a:latin typeface="Arial"/>
                </a:endParaRPr>
              </a:p>
            </p:txBody>
          </p:sp>
        </p:grpSp>
      </p:grpSp>
      <p:grpSp>
        <p:nvGrpSpPr>
          <p:cNvPr id="37" name="Group 36"/>
          <p:cNvGrpSpPr/>
          <p:nvPr/>
        </p:nvGrpSpPr>
        <p:grpSpPr>
          <a:xfrm>
            <a:off x="4707608" y="1600200"/>
            <a:ext cx="2811782" cy="2743200"/>
            <a:chOff x="670557" y="2209800"/>
            <a:chExt cx="3749043" cy="3657600"/>
          </a:xfrm>
        </p:grpSpPr>
        <p:sp>
          <p:nvSpPr>
            <p:cNvPr id="63" name="Content Placeholder 2"/>
            <p:cNvSpPr txBox="1">
              <a:spLocks/>
            </p:cNvSpPr>
            <p:nvPr/>
          </p:nvSpPr>
          <p:spPr>
            <a:xfrm>
              <a:off x="670560" y="2865582"/>
              <a:ext cx="3749040" cy="3001818"/>
            </a:xfrm>
            <a:prstGeom prst="rect">
              <a:avLst/>
            </a:prstGeom>
            <a:solidFill>
              <a:sysClr val="window" lastClr="FFFFFF"/>
            </a:solidFill>
            <a:ln w="12700">
              <a:noFill/>
            </a:ln>
            <a:effectLst>
              <a:outerShdw blurRad="136525" dir="2700000" algn="tl" rotWithShape="0">
                <a:srgbClr val="000000">
                  <a:alpha val="35000"/>
                </a:srgbClr>
              </a:outerShdw>
            </a:effectLst>
          </p:spPr>
          <p:txBody>
            <a:bodyPr vert="horz" lIns="137160" tIns="617220" rIns="137160" bIns="34290" rtlCol="0">
              <a:noAutofit/>
            </a:bodyPr>
            <a:lstStyle>
              <a:lvl1pPr marL="171450" indent="-171450" algn="l" defTabSz="914400" rtl="0" eaLnBrk="1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300"/>
                </a:spcAft>
                <a:buClr>
                  <a:schemeClr val="accent1"/>
                </a:buClr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00050" indent="-171450" algn="l" defTabSz="914400" rtl="0" eaLnBrk="1" latinLnBrk="0" hangingPunct="1">
                <a:lnSpc>
                  <a:spcPct val="95000"/>
                </a:lnSpc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–"/>
                <a:defRPr sz="16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571500" indent="-114300" algn="l" defTabSz="914400" rtl="0" eaLnBrk="1" latinLnBrk="0" hangingPunct="1">
                <a:lnSpc>
                  <a:spcPct val="95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Arial" pitchFamily="34" charset="0"/>
                <a:buChar char="•"/>
                <a:defRPr sz="1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857250" indent="-171450" algn="l" defTabSz="914400" rtl="0" eaLnBrk="1" latinLnBrk="0" hangingPunct="1">
                <a:lnSpc>
                  <a:spcPct val="95000"/>
                </a:lnSpc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–"/>
                <a:defRPr sz="1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028700" indent="-114300" algn="l" defTabSz="914400" rtl="0" eaLnBrk="1" latinLnBrk="0" hangingPunct="1">
                <a:lnSpc>
                  <a:spcPct val="95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Arial" pitchFamily="34" charset="0"/>
                <a:buChar char="•"/>
                <a:tabLst/>
                <a:defRPr sz="140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685800">
                <a:spcBef>
                  <a:spcPts val="450"/>
                </a:spcBef>
                <a:spcAft>
                  <a:spcPts val="225"/>
                </a:spcAft>
                <a:buClrTx/>
                <a:buNone/>
                <a:defRPr/>
              </a:pPr>
              <a:endParaRPr lang="en-US" sz="1050" dirty="0">
                <a:solidFill>
                  <a:srgbClr val="53565A"/>
                </a:solidFill>
              </a:endParaRPr>
            </a:p>
          </p:txBody>
        </p:sp>
        <p:sp>
          <p:nvSpPr>
            <p:cNvPr id="65" name="Content Placeholder 2"/>
            <p:cNvSpPr txBox="1">
              <a:spLocks/>
            </p:cNvSpPr>
            <p:nvPr/>
          </p:nvSpPr>
          <p:spPr>
            <a:xfrm>
              <a:off x="670557" y="2209800"/>
              <a:ext cx="3749040" cy="602676"/>
            </a:xfrm>
            <a:prstGeom prst="rect">
              <a:avLst/>
            </a:prstGeom>
            <a:solidFill>
              <a:schemeClr val="accent3"/>
            </a:solidFill>
            <a:ln w="12700">
              <a:noFill/>
            </a:ln>
            <a:effectLst>
              <a:outerShdw blurRad="136525" dir="2700000" algn="tl" rotWithShape="0">
                <a:srgbClr val="000000">
                  <a:alpha val="35000"/>
                </a:srgbClr>
              </a:outerShdw>
            </a:effectLst>
          </p:spPr>
          <p:txBody>
            <a:bodyPr vert="horz" lIns="137160" tIns="68580" rIns="137160" bIns="68580" rtlCol="0" anchor="ctr">
              <a:no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95000"/>
                </a:lnSpc>
                <a:spcBef>
                  <a:spcPts val="600"/>
                </a:spcBef>
                <a:spcAft>
                  <a:spcPts val="300"/>
                </a:spcAft>
                <a:buClrTx/>
                <a:buSzTx/>
                <a:buFont typeface="Arial" pitchFamily="34" charset="0"/>
                <a:buNone/>
                <a:tabLst/>
                <a:defRPr kumimoji="0" sz="3200" b="1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defRPr>
              </a:lvl1pPr>
              <a:lvl2pPr marL="400050" indent="-171450">
                <a:lnSpc>
                  <a:spcPct val="95000"/>
                </a:lnSpc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–"/>
                <a:defRPr sz="1600">
                  <a:latin typeface="Arial" pitchFamily="34" charset="0"/>
                  <a:cs typeface="Arial" pitchFamily="34" charset="0"/>
                </a:defRPr>
              </a:lvl2pPr>
              <a:lvl3pPr marL="571500" indent="-114300">
                <a:lnSpc>
                  <a:spcPct val="95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Arial" pitchFamily="34" charset="0"/>
                <a:buChar char="•"/>
                <a:defRPr sz="1400">
                  <a:latin typeface="Arial" pitchFamily="34" charset="0"/>
                  <a:cs typeface="Arial" pitchFamily="34" charset="0"/>
                </a:defRPr>
              </a:lvl3pPr>
              <a:lvl4pPr marL="857250" indent="-171450">
                <a:lnSpc>
                  <a:spcPct val="95000"/>
                </a:lnSpc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–"/>
                <a:defRPr sz="1400">
                  <a:latin typeface="Arial" pitchFamily="34" charset="0"/>
                  <a:cs typeface="Arial" pitchFamily="34" charset="0"/>
                </a:defRPr>
              </a:lvl4pPr>
              <a:lvl5pPr marL="1028700" indent="-114300">
                <a:lnSpc>
                  <a:spcPct val="95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Arial" pitchFamily="34" charset="0"/>
                <a:buChar char="•"/>
                <a:tabLst/>
                <a:defRPr sz="1400">
                  <a:latin typeface="Arial" pitchFamily="34" charset="0"/>
                  <a:cs typeface="Arial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r>
                <a:rPr lang="en-US" sz="1350" dirty="0"/>
                <a:t>What to do</a:t>
              </a:r>
            </a:p>
          </p:txBody>
        </p:sp>
        <p:sp>
          <p:nvSpPr>
            <p:cNvPr id="67" name="Manual Operation 4"/>
            <p:cNvSpPr/>
            <p:nvPr/>
          </p:nvSpPr>
          <p:spPr>
            <a:xfrm>
              <a:off x="698508" y="3163344"/>
              <a:ext cx="3558555" cy="245005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09538" tIns="0" rIns="111401" bIns="0" numCol="1" spcCol="1270" anchor="t" anchorCtr="0">
              <a:noAutofit/>
            </a:bodyPr>
            <a:lstStyle/>
            <a:p>
              <a:pPr marL="411480" lvl="1" defTabSz="600075">
                <a:lnSpc>
                  <a:spcPct val="90000"/>
                </a:lnSpc>
                <a:spcBef>
                  <a:spcPts val="450"/>
                </a:spcBef>
                <a:spcAft>
                  <a:spcPts val="450"/>
                </a:spcAft>
              </a:pPr>
              <a:r>
                <a:rPr lang="en-US" sz="1200" dirty="0">
                  <a:solidFill>
                    <a:srgbClr val="53565A"/>
                  </a:solidFill>
                </a:rPr>
                <a:t>Be there.</a:t>
              </a:r>
            </a:p>
            <a:p>
              <a:pPr marL="411480" lvl="1" defTabSz="600075">
                <a:lnSpc>
                  <a:spcPct val="90000"/>
                </a:lnSpc>
                <a:spcBef>
                  <a:spcPts val="1350"/>
                </a:spcBef>
                <a:spcAft>
                  <a:spcPts val="450"/>
                </a:spcAft>
              </a:pPr>
              <a:r>
                <a:rPr lang="en-US" sz="1200" dirty="0">
                  <a:solidFill>
                    <a:srgbClr val="53565A"/>
                  </a:solidFill>
                </a:rPr>
                <a:t>Be patient.</a:t>
              </a:r>
            </a:p>
            <a:p>
              <a:pPr marL="411480" lvl="1" defTabSz="600075">
                <a:lnSpc>
                  <a:spcPct val="90000"/>
                </a:lnSpc>
                <a:spcBef>
                  <a:spcPts val="1350"/>
                </a:spcBef>
                <a:spcAft>
                  <a:spcPts val="450"/>
                </a:spcAft>
              </a:pPr>
              <a:r>
                <a:rPr lang="en-US" sz="1200" dirty="0">
                  <a:solidFill>
                    <a:srgbClr val="53565A"/>
                  </a:solidFill>
                </a:rPr>
                <a:t>Try a small gesture. </a:t>
              </a:r>
            </a:p>
            <a:p>
              <a:pPr marL="411480" lvl="1" defTabSz="600075">
                <a:lnSpc>
                  <a:spcPct val="90000"/>
                </a:lnSpc>
                <a:spcBef>
                  <a:spcPts val="1350"/>
                </a:spcBef>
                <a:spcAft>
                  <a:spcPct val="15000"/>
                </a:spcAft>
              </a:pPr>
              <a:r>
                <a:rPr lang="en-US" sz="1200" dirty="0">
                  <a:solidFill>
                    <a:srgbClr val="53565A"/>
                  </a:solidFill>
                </a:rPr>
                <a:t>Offer resources.</a:t>
              </a:r>
            </a:p>
          </p:txBody>
        </p:sp>
        <p:grpSp>
          <p:nvGrpSpPr>
            <p:cNvPr id="73" name="Group 72"/>
            <p:cNvGrpSpPr/>
            <p:nvPr/>
          </p:nvGrpSpPr>
          <p:grpSpPr>
            <a:xfrm>
              <a:off x="884345" y="3129479"/>
              <a:ext cx="413487" cy="315676"/>
              <a:chOff x="5139071" y="1381507"/>
              <a:chExt cx="413487" cy="315676"/>
            </a:xfrm>
          </p:grpSpPr>
          <p:sp>
            <p:nvSpPr>
              <p:cNvPr id="74" name="Rectangle 73"/>
              <p:cNvSpPr/>
              <p:nvPr/>
            </p:nvSpPr>
            <p:spPr>
              <a:xfrm>
                <a:off x="5139071" y="1398075"/>
                <a:ext cx="299108" cy="299108"/>
              </a:xfrm>
              <a:prstGeom prst="rect">
                <a:avLst/>
              </a:prstGeom>
              <a:noFill/>
              <a:ln w="57150" cap="flat" cmpd="sng" algn="ctr">
                <a:solidFill>
                  <a:srgbClr val="53565A"/>
                </a:solidFill>
                <a:prstDash val="solid"/>
              </a:ln>
              <a:effectLst/>
            </p:spPr>
            <p:txBody>
              <a:bodyPr lIns="34290" rIns="34290" rtlCol="0" anchor="ctr"/>
              <a:lstStyle/>
              <a:p>
                <a:pPr algn="ctr" defTabSz="685800">
                  <a:defRPr/>
                </a:pPr>
                <a:endParaRPr lang="en-US" sz="1200" kern="0" dirty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75" name="Freeform 74"/>
              <p:cNvSpPr/>
              <p:nvPr/>
            </p:nvSpPr>
            <p:spPr>
              <a:xfrm>
                <a:off x="5261519" y="1381507"/>
                <a:ext cx="291039" cy="219364"/>
              </a:xfrm>
              <a:custGeom>
                <a:avLst/>
                <a:gdLst>
                  <a:gd name="connsiteX0" fmla="*/ 0 w 346363"/>
                  <a:gd name="connsiteY0" fmla="*/ 115455 h 219364"/>
                  <a:gd name="connsiteX1" fmla="*/ 127000 w 346363"/>
                  <a:gd name="connsiteY1" fmla="*/ 219364 h 219364"/>
                  <a:gd name="connsiteX2" fmla="*/ 346363 w 346363"/>
                  <a:gd name="connsiteY2" fmla="*/ 0 h 219364"/>
                  <a:gd name="connsiteX0" fmla="*/ 0 w 339473"/>
                  <a:gd name="connsiteY0" fmla="*/ 127269 h 219364"/>
                  <a:gd name="connsiteX1" fmla="*/ 120110 w 339473"/>
                  <a:gd name="connsiteY1" fmla="*/ 219364 h 219364"/>
                  <a:gd name="connsiteX2" fmla="*/ 339473 w 339473"/>
                  <a:gd name="connsiteY2" fmla="*/ 0 h 219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473" h="219364">
                    <a:moveTo>
                      <a:pt x="0" y="127269"/>
                    </a:moveTo>
                    <a:lnTo>
                      <a:pt x="120110" y="219364"/>
                    </a:lnTo>
                    <a:lnTo>
                      <a:pt x="339473" y="0"/>
                    </a:lnTo>
                  </a:path>
                </a:pathLst>
              </a:custGeom>
              <a:noFill/>
              <a:ln w="107950" cap="rnd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 dirty="0">
                  <a:solidFill>
                    <a:srgbClr val="53565A"/>
                  </a:solidFill>
                  <a:latin typeface="Arial"/>
                </a:endParaRPr>
              </a:p>
            </p:txBody>
          </p:sp>
          <p:sp>
            <p:nvSpPr>
              <p:cNvPr id="76" name="Freeform 75"/>
              <p:cNvSpPr/>
              <p:nvPr/>
            </p:nvSpPr>
            <p:spPr>
              <a:xfrm>
                <a:off x="5248524" y="1398046"/>
                <a:ext cx="291039" cy="219364"/>
              </a:xfrm>
              <a:custGeom>
                <a:avLst/>
                <a:gdLst>
                  <a:gd name="connsiteX0" fmla="*/ 0 w 346363"/>
                  <a:gd name="connsiteY0" fmla="*/ 115455 h 219364"/>
                  <a:gd name="connsiteX1" fmla="*/ 127000 w 346363"/>
                  <a:gd name="connsiteY1" fmla="*/ 219364 h 219364"/>
                  <a:gd name="connsiteX2" fmla="*/ 346363 w 346363"/>
                  <a:gd name="connsiteY2" fmla="*/ 0 h 219364"/>
                  <a:gd name="connsiteX0" fmla="*/ 0 w 339473"/>
                  <a:gd name="connsiteY0" fmla="*/ 127269 h 219364"/>
                  <a:gd name="connsiteX1" fmla="*/ 120110 w 339473"/>
                  <a:gd name="connsiteY1" fmla="*/ 219364 h 219364"/>
                  <a:gd name="connsiteX2" fmla="*/ 339473 w 339473"/>
                  <a:gd name="connsiteY2" fmla="*/ 0 h 219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473" h="219364">
                    <a:moveTo>
                      <a:pt x="0" y="127269"/>
                    </a:moveTo>
                    <a:lnTo>
                      <a:pt x="120110" y="219364"/>
                    </a:lnTo>
                    <a:lnTo>
                      <a:pt x="339473" y="0"/>
                    </a:lnTo>
                  </a:path>
                </a:pathLst>
              </a:custGeom>
              <a:noFill/>
              <a:ln w="57150" cap="rnd" cmpd="sng" algn="ctr">
                <a:solidFill>
                  <a:srgbClr val="B1B3B3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 dirty="0">
                  <a:solidFill>
                    <a:srgbClr val="53565A"/>
                  </a:solidFill>
                  <a:latin typeface="Arial"/>
                </a:endParaRPr>
              </a:p>
            </p:txBody>
          </p:sp>
        </p:grpSp>
        <p:grpSp>
          <p:nvGrpSpPr>
            <p:cNvPr id="97" name="Group 96"/>
            <p:cNvGrpSpPr/>
            <p:nvPr/>
          </p:nvGrpSpPr>
          <p:grpSpPr>
            <a:xfrm>
              <a:off x="884345" y="3641522"/>
              <a:ext cx="413487" cy="315676"/>
              <a:chOff x="5139071" y="1381507"/>
              <a:chExt cx="413487" cy="315676"/>
            </a:xfrm>
          </p:grpSpPr>
          <p:sp>
            <p:nvSpPr>
              <p:cNvPr id="98" name="Rectangle 97"/>
              <p:cNvSpPr/>
              <p:nvPr/>
            </p:nvSpPr>
            <p:spPr>
              <a:xfrm>
                <a:off x="5139071" y="1398075"/>
                <a:ext cx="299108" cy="299108"/>
              </a:xfrm>
              <a:prstGeom prst="rect">
                <a:avLst/>
              </a:prstGeom>
              <a:noFill/>
              <a:ln w="57150" cap="flat" cmpd="sng" algn="ctr">
                <a:solidFill>
                  <a:srgbClr val="53565A"/>
                </a:solidFill>
                <a:prstDash val="solid"/>
              </a:ln>
              <a:effectLst/>
            </p:spPr>
            <p:txBody>
              <a:bodyPr lIns="34290" rIns="34290" rtlCol="0" anchor="ctr"/>
              <a:lstStyle/>
              <a:p>
                <a:pPr algn="ctr" defTabSz="685800">
                  <a:defRPr/>
                </a:pPr>
                <a:endParaRPr lang="en-US" sz="1200" kern="0" dirty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99" name="Freeform 98"/>
              <p:cNvSpPr/>
              <p:nvPr/>
            </p:nvSpPr>
            <p:spPr>
              <a:xfrm>
                <a:off x="5261519" y="1381507"/>
                <a:ext cx="291039" cy="219364"/>
              </a:xfrm>
              <a:custGeom>
                <a:avLst/>
                <a:gdLst>
                  <a:gd name="connsiteX0" fmla="*/ 0 w 346363"/>
                  <a:gd name="connsiteY0" fmla="*/ 115455 h 219364"/>
                  <a:gd name="connsiteX1" fmla="*/ 127000 w 346363"/>
                  <a:gd name="connsiteY1" fmla="*/ 219364 h 219364"/>
                  <a:gd name="connsiteX2" fmla="*/ 346363 w 346363"/>
                  <a:gd name="connsiteY2" fmla="*/ 0 h 219364"/>
                  <a:gd name="connsiteX0" fmla="*/ 0 w 339473"/>
                  <a:gd name="connsiteY0" fmla="*/ 127269 h 219364"/>
                  <a:gd name="connsiteX1" fmla="*/ 120110 w 339473"/>
                  <a:gd name="connsiteY1" fmla="*/ 219364 h 219364"/>
                  <a:gd name="connsiteX2" fmla="*/ 339473 w 339473"/>
                  <a:gd name="connsiteY2" fmla="*/ 0 h 219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473" h="219364">
                    <a:moveTo>
                      <a:pt x="0" y="127269"/>
                    </a:moveTo>
                    <a:lnTo>
                      <a:pt x="120110" y="219364"/>
                    </a:lnTo>
                    <a:lnTo>
                      <a:pt x="339473" y="0"/>
                    </a:lnTo>
                  </a:path>
                </a:pathLst>
              </a:custGeom>
              <a:noFill/>
              <a:ln w="107950" cap="rnd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 dirty="0">
                  <a:solidFill>
                    <a:srgbClr val="53565A"/>
                  </a:solidFill>
                  <a:latin typeface="Arial"/>
                </a:endParaRPr>
              </a:p>
            </p:txBody>
          </p:sp>
          <p:sp>
            <p:nvSpPr>
              <p:cNvPr id="100" name="Freeform 99"/>
              <p:cNvSpPr/>
              <p:nvPr/>
            </p:nvSpPr>
            <p:spPr>
              <a:xfrm>
                <a:off x="5248524" y="1398046"/>
                <a:ext cx="291039" cy="219364"/>
              </a:xfrm>
              <a:custGeom>
                <a:avLst/>
                <a:gdLst>
                  <a:gd name="connsiteX0" fmla="*/ 0 w 346363"/>
                  <a:gd name="connsiteY0" fmla="*/ 115455 h 219364"/>
                  <a:gd name="connsiteX1" fmla="*/ 127000 w 346363"/>
                  <a:gd name="connsiteY1" fmla="*/ 219364 h 219364"/>
                  <a:gd name="connsiteX2" fmla="*/ 346363 w 346363"/>
                  <a:gd name="connsiteY2" fmla="*/ 0 h 219364"/>
                  <a:gd name="connsiteX0" fmla="*/ 0 w 339473"/>
                  <a:gd name="connsiteY0" fmla="*/ 127269 h 219364"/>
                  <a:gd name="connsiteX1" fmla="*/ 120110 w 339473"/>
                  <a:gd name="connsiteY1" fmla="*/ 219364 h 219364"/>
                  <a:gd name="connsiteX2" fmla="*/ 339473 w 339473"/>
                  <a:gd name="connsiteY2" fmla="*/ 0 h 219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473" h="219364">
                    <a:moveTo>
                      <a:pt x="0" y="127269"/>
                    </a:moveTo>
                    <a:lnTo>
                      <a:pt x="120110" y="219364"/>
                    </a:lnTo>
                    <a:lnTo>
                      <a:pt x="339473" y="0"/>
                    </a:lnTo>
                  </a:path>
                </a:pathLst>
              </a:custGeom>
              <a:noFill/>
              <a:ln w="57150" cap="rnd" cmpd="sng" algn="ctr">
                <a:solidFill>
                  <a:srgbClr val="B1B3B3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 dirty="0">
                  <a:solidFill>
                    <a:srgbClr val="53565A"/>
                  </a:solidFill>
                  <a:latin typeface="Arial"/>
                </a:endParaRPr>
              </a:p>
            </p:txBody>
          </p:sp>
        </p:grpSp>
        <p:grpSp>
          <p:nvGrpSpPr>
            <p:cNvPr id="101" name="Group 100"/>
            <p:cNvGrpSpPr/>
            <p:nvPr/>
          </p:nvGrpSpPr>
          <p:grpSpPr>
            <a:xfrm>
              <a:off x="884345" y="4153565"/>
              <a:ext cx="413487" cy="315676"/>
              <a:chOff x="5139071" y="1381507"/>
              <a:chExt cx="413487" cy="315676"/>
            </a:xfrm>
          </p:grpSpPr>
          <p:sp>
            <p:nvSpPr>
              <p:cNvPr id="102" name="Rectangle 101"/>
              <p:cNvSpPr/>
              <p:nvPr/>
            </p:nvSpPr>
            <p:spPr>
              <a:xfrm>
                <a:off x="5139071" y="1398075"/>
                <a:ext cx="299108" cy="299108"/>
              </a:xfrm>
              <a:prstGeom prst="rect">
                <a:avLst/>
              </a:prstGeom>
              <a:noFill/>
              <a:ln w="57150" cap="flat" cmpd="sng" algn="ctr">
                <a:solidFill>
                  <a:srgbClr val="53565A"/>
                </a:solidFill>
                <a:prstDash val="solid"/>
              </a:ln>
              <a:effectLst/>
            </p:spPr>
            <p:txBody>
              <a:bodyPr lIns="34290" rIns="34290" rtlCol="0" anchor="ctr"/>
              <a:lstStyle/>
              <a:p>
                <a:pPr algn="ctr" defTabSz="685800">
                  <a:defRPr/>
                </a:pPr>
                <a:endParaRPr lang="en-US" sz="1200" kern="0" dirty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103" name="Freeform 102"/>
              <p:cNvSpPr/>
              <p:nvPr/>
            </p:nvSpPr>
            <p:spPr>
              <a:xfrm>
                <a:off x="5261519" y="1381507"/>
                <a:ext cx="291039" cy="219364"/>
              </a:xfrm>
              <a:custGeom>
                <a:avLst/>
                <a:gdLst>
                  <a:gd name="connsiteX0" fmla="*/ 0 w 346363"/>
                  <a:gd name="connsiteY0" fmla="*/ 115455 h 219364"/>
                  <a:gd name="connsiteX1" fmla="*/ 127000 w 346363"/>
                  <a:gd name="connsiteY1" fmla="*/ 219364 h 219364"/>
                  <a:gd name="connsiteX2" fmla="*/ 346363 w 346363"/>
                  <a:gd name="connsiteY2" fmla="*/ 0 h 219364"/>
                  <a:gd name="connsiteX0" fmla="*/ 0 w 339473"/>
                  <a:gd name="connsiteY0" fmla="*/ 127269 h 219364"/>
                  <a:gd name="connsiteX1" fmla="*/ 120110 w 339473"/>
                  <a:gd name="connsiteY1" fmla="*/ 219364 h 219364"/>
                  <a:gd name="connsiteX2" fmla="*/ 339473 w 339473"/>
                  <a:gd name="connsiteY2" fmla="*/ 0 h 219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473" h="219364">
                    <a:moveTo>
                      <a:pt x="0" y="127269"/>
                    </a:moveTo>
                    <a:lnTo>
                      <a:pt x="120110" y="219364"/>
                    </a:lnTo>
                    <a:lnTo>
                      <a:pt x="339473" y="0"/>
                    </a:lnTo>
                  </a:path>
                </a:pathLst>
              </a:custGeom>
              <a:noFill/>
              <a:ln w="107950" cap="rnd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 dirty="0">
                  <a:solidFill>
                    <a:srgbClr val="53565A"/>
                  </a:solidFill>
                  <a:latin typeface="Arial"/>
                </a:endParaRPr>
              </a:p>
            </p:txBody>
          </p:sp>
          <p:sp>
            <p:nvSpPr>
              <p:cNvPr id="104" name="Freeform 103"/>
              <p:cNvSpPr/>
              <p:nvPr/>
            </p:nvSpPr>
            <p:spPr>
              <a:xfrm>
                <a:off x="5248524" y="1398046"/>
                <a:ext cx="291039" cy="219364"/>
              </a:xfrm>
              <a:custGeom>
                <a:avLst/>
                <a:gdLst>
                  <a:gd name="connsiteX0" fmla="*/ 0 w 346363"/>
                  <a:gd name="connsiteY0" fmla="*/ 115455 h 219364"/>
                  <a:gd name="connsiteX1" fmla="*/ 127000 w 346363"/>
                  <a:gd name="connsiteY1" fmla="*/ 219364 h 219364"/>
                  <a:gd name="connsiteX2" fmla="*/ 346363 w 346363"/>
                  <a:gd name="connsiteY2" fmla="*/ 0 h 219364"/>
                  <a:gd name="connsiteX0" fmla="*/ 0 w 339473"/>
                  <a:gd name="connsiteY0" fmla="*/ 127269 h 219364"/>
                  <a:gd name="connsiteX1" fmla="*/ 120110 w 339473"/>
                  <a:gd name="connsiteY1" fmla="*/ 219364 h 219364"/>
                  <a:gd name="connsiteX2" fmla="*/ 339473 w 339473"/>
                  <a:gd name="connsiteY2" fmla="*/ 0 h 219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473" h="219364">
                    <a:moveTo>
                      <a:pt x="0" y="127269"/>
                    </a:moveTo>
                    <a:lnTo>
                      <a:pt x="120110" y="219364"/>
                    </a:lnTo>
                    <a:lnTo>
                      <a:pt x="339473" y="0"/>
                    </a:lnTo>
                  </a:path>
                </a:pathLst>
              </a:custGeom>
              <a:noFill/>
              <a:ln w="57150" cap="rnd" cmpd="sng" algn="ctr">
                <a:solidFill>
                  <a:srgbClr val="B1B3B3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 dirty="0">
                  <a:solidFill>
                    <a:srgbClr val="53565A"/>
                  </a:solidFill>
                  <a:latin typeface="Arial"/>
                </a:endParaRPr>
              </a:p>
            </p:txBody>
          </p:sp>
        </p:grpSp>
        <p:grpSp>
          <p:nvGrpSpPr>
            <p:cNvPr id="105" name="Group 104"/>
            <p:cNvGrpSpPr/>
            <p:nvPr/>
          </p:nvGrpSpPr>
          <p:grpSpPr>
            <a:xfrm>
              <a:off x="884345" y="4665608"/>
              <a:ext cx="413487" cy="315676"/>
              <a:chOff x="5139071" y="1381507"/>
              <a:chExt cx="413487" cy="315676"/>
            </a:xfrm>
          </p:grpSpPr>
          <p:sp>
            <p:nvSpPr>
              <p:cNvPr id="106" name="Rectangle 105"/>
              <p:cNvSpPr/>
              <p:nvPr/>
            </p:nvSpPr>
            <p:spPr>
              <a:xfrm>
                <a:off x="5139071" y="1398075"/>
                <a:ext cx="299108" cy="299108"/>
              </a:xfrm>
              <a:prstGeom prst="rect">
                <a:avLst/>
              </a:prstGeom>
              <a:noFill/>
              <a:ln w="57150" cap="flat" cmpd="sng" algn="ctr">
                <a:solidFill>
                  <a:srgbClr val="53565A"/>
                </a:solidFill>
                <a:prstDash val="solid"/>
              </a:ln>
              <a:effectLst/>
            </p:spPr>
            <p:txBody>
              <a:bodyPr lIns="34290" rIns="34290" rtlCol="0" anchor="ctr"/>
              <a:lstStyle/>
              <a:p>
                <a:pPr algn="ctr" defTabSz="685800">
                  <a:defRPr/>
                </a:pPr>
                <a:endParaRPr lang="en-US" sz="1200" kern="0" dirty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107" name="Freeform 106"/>
              <p:cNvSpPr/>
              <p:nvPr/>
            </p:nvSpPr>
            <p:spPr>
              <a:xfrm>
                <a:off x="5261519" y="1381507"/>
                <a:ext cx="291039" cy="219364"/>
              </a:xfrm>
              <a:custGeom>
                <a:avLst/>
                <a:gdLst>
                  <a:gd name="connsiteX0" fmla="*/ 0 w 346363"/>
                  <a:gd name="connsiteY0" fmla="*/ 115455 h 219364"/>
                  <a:gd name="connsiteX1" fmla="*/ 127000 w 346363"/>
                  <a:gd name="connsiteY1" fmla="*/ 219364 h 219364"/>
                  <a:gd name="connsiteX2" fmla="*/ 346363 w 346363"/>
                  <a:gd name="connsiteY2" fmla="*/ 0 h 219364"/>
                  <a:gd name="connsiteX0" fmla="*/ 0 w 339473"/>
                  <a:gd name="connsiteY0" fmla="*/ 127269 h 219364"/>
                  <a:gd name="connsiteX1" fmla="*/ 120110 w 339473"/>
                  <a:gd name="connsiteY1" fmla="*/ 219364 h 219364"/>
                  <a:gd name="connsiteX2" fmla="*/ 339473 w 339473"/>
                  <a:gd name="connsiteY2" fmla="*/ 0 h 219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473" h="219364">
                    <a:moveTo>
                      <a:pt x="0" y="127269"/>
                    </a:moveTo>
                    <a:lnTo>
                      <a:pt x="120110" y="219364"/>
                    </a:lnTo>
                    <a:lnTo>
                      <a:pt x="339473" y="0"/>
                    </a:lnTo>
                  </a:path>
                </a:pathLst>
              </a:custGeom>
              <a:noFill/>
              <a:ln w="107950" cap="rnd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 dirty="0">
                  <a:solidFill>
                    <a:srgbClr val="53565A"/>
                  </a:solidFill>
                  <a:latin typeface="Arial"/>
                </a:endParaRPr>
              </a:p>
            </p:txBody>
          </p:sp>
          <p:sp>
            <p:nvSpPr>
              <p:cNvPr id="108" name="Freeform 107"/>
              <p:cNvSpPr/>
              <p:nvPr/>
            </p:nvSpPr>
            <p:spPr>
              <a:xfrm>
                <a:off x="5248524" y="1398046"/>
                <a:ext cx="291039" cy="219364"/>
              </a:xfrm>
              <a:custGeom>
                <a:avLst/>
                <a:gdLst>
                  <a:gd name="connsiteX0" fmla="*/ 0 w 346363"/>
                  <a:gd name="connsiteY0" fmla="*/ 115455 h 219364"/>
                  <a:gd name="connsiteX1" fmla="*/ 127000 w 346363"/>
                  <a:gd name="connsiteY1" fmla="*/ 219364 h 219364"/>
                  <a:gd name="connsiteX2" fmla="*/ 346363 w 346363"/>
                  <a:gd name="connsiteY2" fmla="*/ 0 h 219364"/>
                  <a:gd name="connsiteX0" fmla="*/ 0 w 339473"/>
                  <a:gd name="connsiteY0" fmla="*/ 127269 h 219364"/>
                  <a:gd name="connsiteX1" fmla="*/ 120110 w 339473"/>
                  <a:gd name="connsiteY1" fmla="*/ 219364 h 219364"/>
                  <a:gd name="connsiteX2" fmla="*/ 339473 w 339473"/>
                  <a:gd name="connsiteY2" fmla="*/ 0 h 219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473" h="219364">
                    <a:moveTo>
                      <a:pt x="0" y="127269"/>
                    </a:moveTo>
                    <a:lnTo>
                      <a:pt x="120110" y="219364"/>
                    </a:lnTo>
                    <a:lnTo>
                      <a:pt x="339473" y="0"/>
                    </a:lnTo>
                  </a:path>
                </a:pathLst>
              </a:custGeom>
              <a:noFill/>
              <a:ln w="57150" cap="rnd" cmpd="sng" algn="ctr">
                <a:solidFill>
                  <a:srgbClr val="B1B3B3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 dirty="0">
                  <a:solidFill>
                    <a:srgbClr val="53565A"/>
                  </a:solidFill>
                  <a:latin typeface="Arial"/>
                </a:endParaRPr>
              </a:p>
            </p:txBody>
          </p:sp>
        </p:grp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B7AF7A-205D-4500-B8F2-739B6ABDD24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1025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idx="4294967295"/>
          </p:nvPr>
        </p:nvSpPr>
        <p:spPr>
          <a:xfrm>
            <a:off x="694944" y="377190"/>
            <a:ext cx="7991856" cy="473202"/>
          </a:xfrm>
        </p:spPr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US" dirty="0">
                <a:solidFill>
                  <a:schemeClr val="accent1"/>
                </a:solidFill>
              </a:rPr>
              <a:t>Below are various tools and resources to help you maintain or regain your emotional wellbeing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657350" y="1600200"/>
            <a:ext cx="2857500" cy="685800"/>
          </a:xfrm>
          <a:prstGeom prst="rect">
            <a:avLst/>
          </a:prstGeom>
          <a:noFill/>
          <a:ln w="28575">
            <a:solidFill>
              <a:schemeClr val="accent5"/>
            </a:solidFill>
          </a:ln>
        </p:spPr>
        <p:txBody>
          <a:bodyPr vert="horz" wrap="square" tIns="3429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en-US" sz="1050" b="1" dirty="0">
                <a:solidFill>
                  <a:srgbClr val="55565A"/>
                </a:solidFill>
                <a:latin typeface="Arial"/>
              </a:rPr>
              <a:t>Sanvello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900" dirty="0"/>
              <a:t>Self-guided Cognitive Behavioral Therapy App for your mobile device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86300" y="3886200"/>
            <a:ext cx="2857500" cy="685800"/>
          </a:xfrm>
          <a:prstGeom prst="rect">
            <a:avLst/>
          </a:prstGeom>
          <a:noFill/>
          <a:ln w="28575">
            <a:solidFill>
              <a:schemeClr val="accent5"/>
            </a:solidFill>
          </a:ln>
        </p:spPr>
        <p:txBody>
          <a:bodyPr vert="horz" wrap="square" tIns="34290" rtlCol="0" anchor="ctr">
            <a:noAutofit/>
          </a:bodyPr>
          <a:lstStyle>
            <a:defPPr>
              <a:defRPr lang="en-US"/>
            </a:defPPr>
            <a:lvl1pPr algn="r" fontAlgn="auto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defRPr sz="1400" b="1" i="0" u="none" baseline="0">
                <a:solidFill>
                  <a:srgbClr val="55565A"/>
                </a:solidFill>
                <a:latin typeface="Arial"/>
              </a:defRPr>
            </a:lvl1pPr>
            <a:lvl2pPr marL="628650" lvl="1" indent="-171450">
              <a:buFont typeface="Arial" panose="020B0604020202020204" pitchFamily="34" charset="0"/>
              <a:buChar char="•"/>
              <a:defRPr sz="1200"/>
            </a:lvl2pPr>
          </a:lstStyle>
          <a:p>
            <a:pPr algn="l"/>
            <a:r>
              <a:rPr lang="en-US" sz="1050" dirty="0"/>
              <a:t>Public Crisis Line</a:t>
            </a:r>
          </a:p>
          <a:p>
            <a:pPr marL="128588" indent="-128588" algn="l">
              <a:buFont typeface="Arial" panose="020B0604020202020204" pitchFamily="34" charset="0"/>
              <a:buChar char="•"/>
            </a:pPr>
            <a:r>
              <a:rPr lang="en-US" sz="900" b="0" dirty="0">
                <a:solidFill>
                  <a:schemeClr val="tx1"/>
                </a:solidFill>
                <a:latin typeface="+mn-lt"/>
              </a:rPr>
              <a:t>1 (866) 342-6892, available 24/7</a:t>
            </a:r>
          </a:p>
          <a:p>
            <a:pPr marL="128588" indent="-128588" algn="l">
              <a:buFont typeface="Arial" panose="020B0604020202020204" pitchFamily="34" charset="0"/>
              <a:buChar char="•"/>
            </a:pPr>
            <a:r>
              <a:rPr lang="en-US" sz="900" b="0" dirty="0">
                <a:solidFill>
                  <a:schemeClr val="tx1"/>
                </a:solidFill>
                <a:latin typeface="+mn-lt"/>
              </a:rPr>
              <a:t>Free of charge and available to anyon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657350" y="3886200"/>
            <a:ext cx="2857500" cy="685800"/>
          </a:xfrm>
          <a:prstGeom prst="rect">
            <a:avLst/>
          </a:prstGeom>
          <a:noFill/>
          <a:ln w="28575">
            <a:solidFill>
              <a:schemeClr val="accent5"/>
            </a:solidFill>
          </a:ln>
        </p:spPr>
        <p:txBody>
          <a:bodyPr vert="horz" wrap="square" tIns="34290" rtlCol="0" anchor="ctr">
            <a:noAutofit/>
          </a:bodyPr>
          <a:lstStyle>
            <a:defPPr>
              <a:defRPr lang="en-US"/>
            </a:defPPr>
            <a:lvl1pPr algn="r" fontAlgn="auto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defRPr sz="1400" b="1" i="0" u="none" baseline="0">
                <a:solidFill>
                  <a:srgbClr val="55565A"/>
                </a:solidFill>
                <a:latin typeface="Arial"/>
              </a:defRPr>
            </a:lvl1pPr>
            <a:lvl2pPr marL="628650" lvl="1" indent="-171450">
              <a:buFont typeface="Arial" panose="020B0604020202020204" pitchFamily="34" charset="0"/>
              <a:buChar char="•"/>
              <a:defRPr sz="1200"/>
            </a:lvl2pPr>
          </a:lstStyle>
          <a:p>
            <a:pPr algn="l"/>
            <a:r>
              <a:rPr lang="en-US" sz="1050" dirty="0"/>
              <a:t>Substance Use Disorder Helpline</a:t>
            </a:r>
          </a:p>
          <a:p>
            <a:pPr marL="128588" indent="-128588" algn="l">
              <a:buFont typeface="Arial" panose="020B0604020202020204" pitchFamily="34" charset="0"/>
              <a:buChar char="•"/>
            </a:pPr>
            <a:r>
              <a:rPr lang="en-US" sz="900" b="0" dirty="0">
                <a:solidFill>
                  <a:schemeClr val="tx1"/>
                </a:solidFill>
                <a:latin typeface="+mn-lt"/>
              </a:rPr>
              <a:t>1 (855) 780-5955</a:t>
            </a:r>
          </a:p>
          <a:p>
            <a:pPr marL="128588" indent="-128588" algn="l">
              <a:buFont typeface="Arial" panose="020B0604020202020204" pitchFamily="34" charset="0"/>
              <a:buChar char="•"/>
            </a:pPr>
            <a:r>
              <a:rPr lang="en-US" sz="900" b="0" dirty="0">
                <a:solidFill>
                  <a:schemeClr val="tx1"/>
                </a:solidFill>
                <a:latin typeface="+mn-lt"/>
              </a:rPr>
              <a:t>Anonymous and available 24/7</a:t>
            </a:r>
          </a:p>
        </p:txBody>
      </p:sp>
      <p:sp>
        <p:nvSpPr>
          <p:cNvPr id="14" name="AutoShape 8" descr="Image result for kaiser logo"/>
          <p:cNvSpPr>
            <a:spLocks noChangeAspect="1" noChangeArrowheads="1"/>
          </p:cNvSpPr>
          <p:nvPr/>
        </p:nvSpPr>
        <p:spPr bwMode="auto">
          <a:xfrm>
            <a:off x="1259681" y="-108347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pic>
        <p:nvPicPr>
          <p:cNvPr id="2067" name="Picture 19"/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5001" y="4360359"/>
            <a:ext cx="584200" cy="4232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pic>
      <p:pic>
        <p:nvPicPr>
          <p:cNvPr id="2068" name="Picture 20"/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0512" y="4244289"/>
            <a:ext cx="452438" cy="539353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/>
            </a:solidFill>
            <a:miter lim="800000"/>
            <a:headEnd/>
            <a:tailEnd/>
          </a:ln>
          <a:effectLst/>
        </p:spPr>
      </p:pic>
      <p:pic>
        <p:nvPicPr>
          <p:cNvPr id="2070" name="Picture 2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4717" y="2080022"/>
            <a:ext cx="561975" cy="4119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BCC2A3E5-91F8-4A7C-BB9E-5E19D03D8DC5}"/>
              </a:ext>
            </a:extLst>
          </p:cNvPr>
          <p:cNvSpPr txBox="1"/>
          <p:nvPr/>
        </p:nvSpPr>
        <p:spPr>
          <a:xfrm>
            <a:off x="1657350" y="2743200"/>
            <a:ext cx="2857500" cy="685800"/>
          </a:xfrm>
          <a:prstGeom prst="rect">
            <a:avLst/>
          </a:prstGeom>
          <a:noFill/>
          <a:ln w="28575">
            <a:solidFill>
              <a:schemeClr val="accent5"/>
            </a:solidFill>
          </a:ln>
        </p:spPr>
        <p:txBody>
          <a:bodyPr vert="horz" wrap="square" tIns="34290" rtlCol="0" anchor="ctr">
            <a:noAutofit/>
          </a:bodyPr>
          <a:lstStyle>
            <a:defPPr>
              <a:defRPr lang="en-US"/>
            </a:defPPr>
            <a:lvl1pPr algn="r" fontAlgn="auto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defRPr sz="1400" b="1" i="0" u="none" baseline="0">
                <a:solidFill>
                  <a:srgbClr val="55565A"/>
                </a:solidFill>
                <a:latin typeface="Arial"/>
              </a:defRPr>
            </a:lvl1pPr>
            <a:lvl2pPr marL="628650" lvl="1" indent="-171450">
              <a:buFont typeface="Arial" panose="020B0604020202020204" pitchFamily="34" charset="0"/>
              <a:buChar char="•"/>
              <a:defRPr sz="1200"/>
            </a:lvl2pPr>
          </a:lstStyle>
          <a:p>
            <a:pPr algn="l"/>
            <a:endParaRPr lang="en-US" sz="1050" dirty="0"/>
          </a:p>
          <a:p>
            <a:pPr algn="l"/>
            <a:r>
              <a:rPr lang="en-US" sz="1050" dirty="0"/>
              <a:t>Talkspace</a:t>
            </a:r>
          </a:p>
          <a:p>
            <a:pPr algn="l"/>
            <a:r>
              <a:rPr lang="de-DE" sz="900" b="0" dirty="0">
                <a:solidFill>
                  <a:schemeClr val="tx1"/>
                </a:solidFill>
                <a:latin typeface="+mn-lt"/>
              </a:rPr>
              <a:t>Virtual Visit provider using messaging as the communication method.  </a:t>
            </a:r>
            <a:r>
              <a:rPr lang="de-DE" sz="900" b="0" u="sng" dirty="0">
                <a:solidFill>
                  <a:schemeClr val="tx1"/>
                </a:solidFill>
                <a:latin typeface="+mn-lt"/>
              </a:rPr>
              <a:t>www.talkspacecom/connect</a:t>
            </a:r>
          </a:p>
          <a:p>
            <a:pPr algn="l"/>
            <a:endParaRPr lang="de-DE" sz="900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B4A528-3CCA-4D69-A23C-287A58795641}"/>
              </a:ext>
            </a:extLst>
          </p:cNvPr>
          <p:cNvSpPr txBox="1"/>
          <p:nvPr/>
        </p:nvSpPr>
        <p:spPr>
          <a:xfrm>
            <a:off x="4695933" y="1597727"/>
            <a:ext cx="2857500" cy="685800"/>
          </a:xfrm>
          <a:prstGeom prst="rect">
            <a:avLst/>
          </a:prstGeom>
          <a:noFill/>
          <a:ln w="28575">
            <a:solidFill>
              <a:schemeClr val="accent5"/>
            </a:solidFill>
          </a:ln>
        </p:spPr>
        <p:txBody>
          <a:bodyPr vert="horz" wrap="square" tIns="34290" rtlCol="0" anchor="ctr">
            <a:noAutofit/>
          </a:bodyPr>
          <a:lstStyle>
            <a:defPPr>
              <a:defRPr lang="en-US"/>
            </a:defPPr>
            <a:lvl1pPr algn="r" fontAlgn="auto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defRPr sz="1400" b="1" i="0" u="none" baseline="0">
                <a:solidFill>
                  <a:srgbClr val="55565A"/>
                </a:solidFill>
                <a:latin typeface="Arial"/>
              </a:defRPr>
            </a:lvl1pPr>
            <a:lvl2pPr marL="628650" lvl="1" indent="-171450">
              <a:buFont typeface="Arial" panose="020B0604020202020204" pitchFamily="34" charset="0"/>
              <a:buChar char="•"/>
              <a:defRPr sz="1200"/>
            </a:lvl2pPr>
          </a:lstStyle>
          <a:p>
            <a:pPr algn="l"/>
            <a:r>
              <a:rPr lang="en-US" sz="1050" dirty="0"/>
              <a:t>Websites</a:t>
            </a:r>
          </a:p>
          <a:p>
            <a:pPr marL="128588" indent="-128588" algn="l">
              <a:buFont typeface="Arial" panose="020B0604020202020204" pitchFamily="34" charset="0"/>
              <a:buChar char="•"/>
            </a:pPr>
            <a:r>
              <a:rPr lang="en-US" sz="900" b="0" dirty="0" err="1">
                <a:solidFill>
                  <a:schemeClr val="tx1"/>
                </a:solidFill>
                <a:latin typeface="+mn-lt"/>
                <a:hlinkClick r:id="rId6"/>
              </a:rPr>
              <a:t>www.myUHC.com</a:t>
            </a:r>
            <a:endParaRPr lang="en-US" sz="900" b="0" dirty="0">
              <a:solidFill>
                <a:schemeClr val="tx1"/>
              </a:solidFill>
              <a:latin typeface="+mn-lt"/>
            </a:endParaRPr>
          </a:p>
          <a:p>
            <a:pPr marL="128588" indent="-128588" algn="l">
              <a:buFont typeface="Arial" panose="020B0604020202020204" pitchFamily="34" charset="0"/>
              <a:buChar char="•"/>
            </a:pPr>
            <a:r>
              <a:rPr lang="en-US" sz="900" b="0" dirty="0">
                <a:solidFill>
                  <a:schemeClr val="tx1"/>
                </a:solidFill>
                <a:latin typeface="+mn-lt"/>
                <a:hlinkClick r:id="rId7"/>
              </a:rPr>
              <a:t>www.liveandworkwell.com</a:t>
            </a:r>
            <a:endParaRPr lang="en-US" sz="900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B04969D-2C53-4A33-9E34-839F8C758A59}"/>
              </a:ext>
            </a:extLst>
          </p:cNvPr>
          <p:cNvSpPr txBox="1"/>
          <p:nvPr/>
        </p:nvSpPr>
        <p:spPr>
          <a:xfrm>
            <a:off x="4711700" y="2743200"/>
            <a:ext cx="2857500" cy="685800"/>
          </a:xfrm>
          <a:prstGeom prst="rect">
            <a:avLst/>
          </a:prstGeom>
          <a:noFill/>
          <a:ln w="28575">
            <a:solidFill>
              <a:schemeClr val="accent5"/>
            </a:solidFill>
          </a:ln>
        </p:spPr>
        <p:txBody>
          <a:bodyPr vert="horz" wrap="square" tIns="34290" rtlCol="0" anchor="ctr">
            <a:noAutofit/>
          </a:bodyPr>
          <a:lstStyle>
            <a:defPPr>
              <a:defRPr lang="en-US"/>
            </a:defPPr>
            <a:lvl1pPr algn="r" fontAlgn="auto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defRPr sz="1400" b="1" i="0" u="none" baseline="0">
                <a:solidFill>
                  <a:srgbClr val="55565A"/>
                </a:solidFill>
                <a:latin typeface="Arial"/>
              </a:defRPr>
            </a:lvl1pPr>
            <a:lvl2pPr marL="628650" lvl="1" indent="-171450">
              <a:buFont typeface="Arial" panose="020B0604020202020204" pitchFamily="34" charset="0"/>
              <a:buChar char="•"/>
              <a:defRPr sz="1200"/>
            </a:lvl2pPr>
          </a:lstStyle>
          <a:p>
            <a:pPr algn="l"/>
            <a:r>
              <a:rPr lang="en-US" sz="1050" dirty="0"/>
              <a:t>Psych Hub Videos</a:t>
            </a:r>
          </a:p>
          <a:p>
            <a:pPr marL="128588" indent="-128588" algn="l">
              <a:buFont typeface="Arial" panose="020B0604020202020204" pitchFamily="34" charset="0"/>
              <a:buChar char="•"/>
            </a:pPr>
            <a:r>
              <a:rPr lang="en-US" sz="900" b="0" dirty="0">
                <a:solidFill>
                  <a:schemeClr val="tx1"/>
                </a:solidFill>
                <a:latin typeface="+mn-lt"/>
              </a:rPr>
              <a:t>Member focused videos on various behavioral health and COVID-19-specific topics</a:t>
            </a:r>
          </a:p>
        </p:txBody>
      </p:sp>
      <p:pic>
        <p:nvPicPr>
          <p:cNvPr id="18" name="Picture 19">
            <a:extLst>
              <a:ext uri="{FF2B5EF4-FFF2-40B4-BE49-F238E27FC236}">
                <a16:creationId xmlns:a16="http://schemas.microsoft.com/office/drawing/2014/main" id="{22BEDBC2-97A5-47DA-9F07-A4080F1053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9701" y="3201720"/>
            <a:ext cx="584200" cy="4232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pic>
      <p:pic>
        <p:nvPicPr>
          <p:cNvPr id="19" name="Picture 20">
            <a:extLst>
              <a:ext uri="{FF2B5EF4-FFF2-40B4-BE49-F238E27FC236}">
                <a16:creationId xmlns:a16="http://schemas.microsoft.com/office/drawing/2014/main" id="{C1EAC950-EB81-4C72-8645-62EEEA1AC2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0431" y="1925159"/>
            <a:ext cx="452438" cy="539353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/>
            </a:solidFill>
            <a:miter lim="800000"/>
            <a:headEnd/>
            <a:tailEnd/>
          </a:ln>
          <a:effectLst/>
        </p:spPr>
      </p:pic>
      <p:pic>
        <p:nvPicPr>
          <p:cNvPr id="20" name="Picture 22">
            <a:extLst>
              <a:ext uri="{FF2B5EF4-FFF2-40B4-BE49-F238E27FC236}">
                <a16:creationId xmlns:a16="http://schemas.microsoft.com/office/drawing/2014/main" id="{296B1AAD-60D4-4E65-8146-F2F61CC863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1108" y="3201721"/>
            <a:ext cx="561975" cy="4119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36430D5-C9AB-4CA8-A310-EF5646FE131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62827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8BBFC-11E8-448B-B5A3-E2128D1C9BF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94944" y="377190"/>
            <a:ext cx="7991856" cy="473202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3B5A676B-A861-4A49-84D4-23D9093BE84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04850" y="2823574"/>
            <a:ext cx="7981950" cy="44726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BE39075-9882-42A4-A22A-8EE99248D8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9533" y="1179400"/>
            <a:ext cx="6074526" cy="3704111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4BF0057-B27F-48C2-9C5C-CBDBB2EDEC3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3264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94944" y="377190"/>
            <a:ext cx="7991856" cy="473202"/>
          </a:xfrm>
        </p:spPr>
        <p:txBody>
          <a:bodyPr/>
          <a:lstStyle/>
          <a:p>
            <a:r>
              <a:rPr lang="en-US" sz="2100" dirty="0"/>
              <a:t>Tammy Huf, BSN, MBA, RN| United Health Group</a:t>
            </a:r>
            <a:br>
              <a:rPr lang="en-US" sz="2100" dirty="0"/>
            </a:br>
            <a:r>
              <a:rPr lang="en-US" sz="1500" i="1" dirty="0"/>
              <a:t>Director of Client Strategy, Optum Behavioral Health</a:t>
            </a:r>
            <a:endParaRPr lang="en-US" sz="15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F50CF6-201C-47E3-8E9D-4153F0F6F0E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B3AC613-31BC-424D-9DE9-CB98A17095AA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3565320" y="1406525"/>
            <a:ext cx="5121479" cy="328136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685800" rtl="0" eaLnBrk="1" latinLnBrk="0" hangingPunct="1">
              <a:lnSpc>
                <a:spcPct val="95000"/>
              </a:lnSpc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98463" indent="-169863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42950" indent="-171450" algn="l" defTabSz="6858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US" sz="1500" dirty="0"/>
              <a:t>Tammy is a Registered Nurse and joined United Health Group in 1999.  She is currently responsible for client strategy, education, and innovations that improve the mental health of employee populations. </a:t>
            </a:r>
          </a:p>
          <a:p>
            <a:pPr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US" sz="1500" dirty="0"/>
              <a:t>These strategies include understanding network changes, anti-stigma initiatives, clinical trends, and emerging innovations that help members access and engage in behavioral care. Her career has been patient-focused, promoting holistic clinical and behavioral wellness, and increased awareness of how all people can seek and find care. </a:t>
            </a:r>
          </a:p>
        </p:txBody>
      </p:sp>
      <p:pic>
        <p:nvPicPr>
          <p:cNvPr id="5" name="Picture 4" descr="A picture containing person, window, outdoor, person&#10;&#10;Description automatically generated">
            <a:extLst>
              <a:ext uri="{FF2B5EF4-FFF2-40B4-BE49-F238E27FC236}">
                <a16:creationId xmlns:a16="http://schemas.microsoft.com/office/drawing/2014/main" id="{B24AA788-7B2A-489B-AE0F-F1D64EB9433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1" y="1761331"/>
            <a:ext cx="2651760" cy="257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9252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The behavioral health challenge in the U.S.</a:t>
            </a:r>
          </a:p>
        </p:txBody>
      </p:sp>
      <p:cxnSp>
        <p:nvCxnSpPr>
          <p:cNvPr id="36" name="Straight Connector 35"/>
          <p:cNvCxnSpPr/>
          <p:nvPr/>
        </p:nvCxnSpPr>
        <p:spPr>
          <a:xfrm>
            <a:off x="3371181" y="1159523"/>
            <a:ext cx="0" cy="20574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1"/>
          <p:cNvSpPr txBox="1">
            <a:spLocks/>
          </p:cNvSpPr>
          <p:nvPr/>
        </p:nvSpPr>
        <p:spPr>
          <a:xfrm>
            <a:off x="1511947" y="1931166"/>
            <a:ext cx="1607945" cy="9694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24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" marR="0" indent="0" algn="l" defTabSz="685754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 lang="en-US" sz="18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6688" indent="-166688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03225" indent="-17145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rgbClr val="55565A"/>
                </a:solidFill>
              </a:rPr>
              <a:t>American adults </a:t>
            </a:r>
            <a:br>
              <a:rPr lang="en-US" sz="1200" b="1" dirty="0">
                <a:solidFill>
                  <a:srgbClr val="E87722"/>
                </a:solidFill>
              </a:rPr>
            </a:br>
            <a:r>
              <a:rPr lang="en-US" sz="1200" dirty="0">
                <a:solidFill>
                  <a:srgbClr val="55565A"/>
                </a:solidFill>
              </a:rPr>
              <a:t>is affected each year </a:t>
            </a:r>
            <a:br>
              <a:rPr lang="en-US" sz="1200" dirty="0">
                <a:solidFill>
                  <a:srgbClr val="55565A"/>
                </a:solidFill>
              </a:rPr>
            </a:br>
            <a:r>
              <a:rPr lang="en-US" sz="1200" dirty="0">
                <a:solidFill>
                  <a:srgbClr val="55565A"/>
                </a:solidFill>
              </a:rPr>
              <a:t>by </a:t>
            </a:r>
            <a:r>
              <a:rPr lang="en-US" sz="1200" b="1" dirty="0"/>
              <a:t>mental health and substance use disorders</a:t>
            </a:r>
            <a:r>
              <a:rPr lang="en-US" sz="1200" baseline="30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7" name="Text Placeholder 1"/>
          <p:cNvSpPr txBox="1">
            <a:spLocks/>
          </p:cNvSpPr>
          <p:nvPr/>
        </p:nvSpPr>
        <p:spPr>
          <a:xfrm>
            <a:off x="1511946" y="1411268"/>
            <a:ext cx="1607945" cy="78330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24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" marR="0" indent="0" algn="l" defTabSz="685754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 lang="en-US" sz="18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6688" indent="-166688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03225" indent="-17145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Aft>
                <a:spcPts val="0"/>
              </a:spcAft>
            </a:pPr>
            <a:r>
              <a:rPr lang="en-US" sz="3600" b="1" spc="-113" dirty="0"/>
              <a:t>1 in 5</a:t>
            </a:r>
            <a:endParaRPr lang="en-US" sz="3600" spc="-113" dirty="0"/>
          </a:p>
        </p:txBody>
      </p:sp>
      <p:sp>
        <p:nvSpPr>
          <p:cNvPr id="48" name="Text Placeholder 1"/>
          <p:cNvSpPr txBox="1">
            <a:spLocks/>
          </p:cNvSpPr>
          <p:nvPr/>
        </p:nvSpPr>
        <p:spPr>
          <a:xfrm>
            <a:off x="3742068" y="1411268"/>
            <a:ext cx="1607945" cy="8064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24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" marR="0" indent="0" algn="l" defTabSz="685754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 lang="en-US" sz="18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6688" indent="-166688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03225" indent="-17145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Aft>
                <a:spcPts val="0"/>
              </a:spcAft>
            </a:pPr>
            <a:r>
              <a:rPr lang="en-US" sz="3600" b="1" spc="-113" dirty="0"/>
              <a:t>60%</a:t>
            </a:r>
            <a:endParaRPr lang="en-US" sz="3600" spc="-113" dirty="0"/>
          </a:p>
        </p:txBody>
      </p:sp>
      <p:sp>
        <p:nvSpPr>
          <p:cNvPr id="50" name="Text Placeholder 1"/>
          <p:cNvSpPr txBox="1">
            <a:spLocks/>
          </p:cNvSpPr>
          <p:nvPr/>
        </p:nvSpPr>
        <p:spPr>
          <a:xfrm>
            <a:off x="3741001" y="1916339"/>
            <a:ext cx="1607945" cy="9576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24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" marR="0" indent="0" algn="l" defTabSz="685754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 lang="en-US" sz="18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6688" indent="-166688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03225" indent="-17145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rgbClr val="55565A"/>
                </a:solidFill>
              </a:rPr>
              <a:t>of adults with any mental illness</a:t>
            </a:r>
            <a:r>
              <a:rPr lang="en-US" sz="1200" dirty="0"/>
              <a:t> </a:t>
            </a:r>
            <a:r>
              <a:rPr lang="en-US" sz="1200" b="1" dirty="0"/>
              <a:t>didn’t receive mental health services</a:t>
            </a:r>
            <a:r>
              <a:rPr lang="en-US" sz="1200" dirty="0"/>
              <a:t> </a:t>
            </a:r>
            <a:r>
              <a:rPr lang="en-US" sz="1200" dirty="0">
                <a:solidFill>
                  <a:srgbClr val="55565A"/>
                </a:solidFill>
              </a:rPr>
              <a:t>in the </a:t>
            </a:r>
            <a:br>
              <a:rPr lang="en-US" sz="1200" dirty="0">
                <a:solidFill>
                  <a:srgbClr val="55565A"/>
                </a:solidFill>
              </a:rPr>
            </a:br>
            <a:r>
              <a:rPr lang="en-US" sz="1200" dirty="0">
                <a:solidFill>
                  <a:srgbClr val="55565A"/>
                </a:solidFill>
              </a:rPr>
              <a:t>previous year</a:t>
            </a:r>
            <a:r>
              <a:rPr lang="en-US" sz="1200" baseline="30000" dirty="0">
                <a:solidFill>
                  <a:srgbClr val="55565A"/>
                </a:solidFill>
              </a:rPr>
              <a:t>2</a:t>
            </a:r>
          </a:p>
        </p:txBody>
      </p:sp>
      <p:cxnSp>
        <p:nvCxnSpPr>
          <p:cNvPr id="51" name="Straight Connector 50"/>
          <p:cNvCxnSpPr/>
          <p:nvPr/>
        </p:nvCxnSpPr>
        <p:spPr>
          <a:xfrm>
            <a:off x="5655882" y="1143000"/>
            <a:ext cx="0" cy="20574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 Placeholder 1"/>
          <p:cNvSpPr txBox="1">
            <a:spLocks/>
          </p:cNvSpPr>
          <p:nvPr/>
        </p:nvSpPr>
        <p:spPr>
          <a:xfrm>
            <a:off x="5943600" y="1411268"/>
            <a:ext cx="1750672" cy="7395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24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" marR="0" indent="0" algn="l" defTabSz="685754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 lang="en-US" sz="18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6688" indent="-166688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03225" indent="-17145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Aft>
                <a:spcPts val="0"/>
              </a:spcAft>
            </a:pPr>
            <a:r>
              <a:rPr lang="en-US" sz="3600" b="1" spc="-113" dirty="0"/>
              <a:t>1 in 10</a:t>
            </a:r>
            <a:endParaRPr lang="en-US" sz="3600" spc="-113" dirty="0"/>
          </a:p>
        </p:txBody>
      </p:sp>
      <p:sp>
        <p:nvSpPr>
          <p:cNvPr id="73" name="Text Placeholder 1"/>
          <p:cNvSpPr txBox="1">
            <a:spLocks/>
          </p:cNvSpPr>
          <p:nvPr/>
        </p:nvSpPr>
        <p:spPr>
          <a:xfrm>
            <a:off x="6005659" y="1916339"/>
            <a:ext cx="1607945" cy="9576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24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" marR="0" indent="0" algn="l" defTabSz="685754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400"/>
              </a:spcAft>
              <a:buClrTx/>
              <a:buSzPct val="90000"/>
              <a:buFont typeface="Arial" pitchFamily="34" charset="0"/>
              <a:buNone/>
              <a:tabLst/>
              <a:defRPr lang="en-US" sz="18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6688" indent="-166688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03225" indent="-17145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1200" dirty="0">
                <a:solidFill>
                  <a:srgbClr val="55565A"/>
                </a:solidFill>
              </a:rPr>
              <a:t>Americans with a </a:t>
            </a:r>
            <a:r>
              <a:rPr lang="en-US" sz="1200" b="1" dirty="0"/>
              <a:t>substance use disorder </a:t>
            </a:r>
            <a:r>
              <a:rPr lang="en-US" sz="1200" dirty="0">
                <a:solidFill>
                  <a:srgbClr val="55565A"/>
                </a:solidFill>
              </a:rPr>
              <a:t>receives treatment</a:t>
            </a:r>
            <a:r>
              <a:rPr lang="en-US" sz="1200" baseline="30000" dirty="0">
                <a:solidFill>
                  <a:srgbClr val="55565A"/>
                </a:solidFill>
              </a:rPr>
              <a:t>3</a:t>
            </a:r>
            <a:endParaRPr lang="en-US" sz="1200" b="1" baseline="30000" dirty="0">
              <a:solidFill>
                <a:srgbClr val="E87722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143000" y="3429001"/>
            <a:ext cx="6858000" cy="600164"/>
          </a:xfrm>
          <a:prstGeom prst="rect">
            <a:avLst/>
          </a:prstGeom>
          <a:solidFill>
            <a:schemeClr val="accent1"/>
          </a:solidFill>
        </p:spPr>
        <p:txBody>
          <a:bodyPr wrap="square" lIns="617220" tIns="68580" rIns="617220" bIns="68580" anchor="ctr">
            <a:spAutoFit/>
          </a:bodyPr>
          <a:lstStyle/>
          <a:p>
            <a:pPr algn="ctr"/>
            <a:r>
              <a:rPr lang="en-US" sz="1500" i="1" dirty="0">
                <a:solidFill>
                  <a:schemeClr val="bg1"/>
                </a:solidFill>
              </a:rPr>
              <a:t>The novel coronavirus (COVID-19) and periods of social unrest contribute to emotional distress and occurrence of mental illness. 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A7F5E2B-E9BB-41F9-A7FC-FFFA387A3EDC}"/>
              </a:ext>
            </a:extLst>
          </p:cNvPr>
          <p:cNvSpPr/>
          <p:nvPr/>
        </p:nvSpPr>
        <p:spPr>
          <a:xfrm>
            <a:off x="1143000" y="4229100"/>
            <a:ext cx="68580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chemeClr val="tx2"/>
                </a:solidFill>
              </a:rPr>
              <a:t>1. Center for Behavioral Health Statistics and Quality, Substance Abuse and Mental Health Services Administration. “Behavioral health trends in the United States: Results from the 2014 National Survey on Drug Use and Health,” 2015. Available at: https://www.samhsa.gov/data/sites/default/files/NSDUH-FRR1-2014/NSDUH-FRR1-2014.htm. 2. </a:t>
            </a:r>
            <a:r>
              <a:rPr lang="en-US" sz="600" dirty="0"/>
              <a:t>Park-Lee, E., Lipari, R. N., Hedden, S. L., </a:t>
            </a:r>
            <a:r>
              <a:rPr lang="en-US" sz="600" dirty="0" err="1"/>
              <a:t>Kroutil</a:t>
            </a:r>
            <a:r>
              <a:rPr lang="en-US" sz="600" dirty="0"/>
              <a:t>, L. A., &amp; Porter, J. D. Receipt of services for substance use and mental health issues among adults: Results from the 2016 National Survey on Drug Use and Health. NSDUH Data Review. September 2017. Accessed on November 9, 2017 at </a:t>
            </a:r>
            <a:r>
              <a:rPr lang="en-US" sz="600" u="sng" dirty="0">
                <a:hlinkClick r:id="rId3"/>
              </a:rPr>
              <a:t>https://www.samhsa.gov/data/sites/default/files/NSDUH-DR-FFR2-2016/NSDUH-DR-FFR2-2016.pdf</a:t>
            </a:r>
            <a:r>
              <a:rPr lang="en-US" sz="600" dirty="0"/>
              <a:t>. 3. </a:t>
            </a:r>
            <a:r>
              <a:rPr lang="en-US" sz="600" spc="-15" dirty="0"/>
              <a:t>Center for Behavioral Health Statistics and Quality. (2016). Results from the 2015 national survey on drug use and health: Detailed tables. Rockville, MD: Substance Abuse and Mental Health Services Administration. </a:t>
            </a:r>
            <a:endParaRPr lang="en-US" sz="6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CBD147-E7E1-4DED-B85B-76C0517E212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2677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94944" y="377190"/>
            <a:ext cx="7991856" cy="473202"/>
          </a:xfrm>
        </p:spPr>
        <p:txBody>
          <a:bodyPr/>
          <a:lstStyle/>
          <a:p>
            <a:r>
              <a:rPr lang="en-US" sz="2800" dirty="0"/>
              <a:t>Effects of challenges on our mental health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485900" y="1028700"/>
            <a:ext cx="6554514" cy="2286001"/>
          </a:xfrm>
        </p:spPr>
        <p:txBody>
          <a:bodyPr>
            <a:normAutofit fontScale="92500"/>
          </a:bodyPr>
          <a:lstStyle/>
          <a:p>
            <a:pPr marL="259556" indent="-259556">
              <a:spcBef>
                <a:spcPts val="675"/>
              </a:spcBef>
              <a:spcAft>
                <a:spcPts val="675"/>
              </a:spcAft>
              <a:buClr>
                <a:schemeClr val="accent1"/>
              </a:buClr>
            </a:pPr>
            <a:r>
              <a:rPr lang="en-US" sz="1500" b="1" dirty="0">
                <a:solidFill>
                  <a:schemeClr val="accent1"/>
                </a:solidFill>
              </a:rPr>
              <a:t>63%</a:t>
            </a:r>
            <a:r>
              <a:rPr lang="en-US" sz="1500" dirty="0"/>
              <a:t> of respondents to a recent McKinsey survey reported feeling anxious or depressed in the past week, and </a:t>
            </a:r>
            <a:r>
              <a:rPr lang="en-US" sz="1500" b="1" dirty="0">
                <a:solidFill>
                  <a:schemeClr val="accent1"/>
                </a:solidFill>
              </a:rPr>
              <a:t>80%</a:t>
            </a:r>
            <a:r>
              <a:rPr lang="en-US" sz="1500" dirty="0"/>
              <a:t> of respondents reported experiencing moderate to high distress related to COVID-19</a:t>
            </a:r>
            <a:r>
              <a:rPr lang="en-US" sz="1500" baseline="30000" dirty="0"/>
              <a:t>4</a:t>
            </a:r>
            <a:r>
              <a:rPr lang="en-US" sz="1500" dirty="0"/>
              <a:t>. </a:t>
            </a:r>
          </a:p>
          <a:p>
            <a:pPr>
              <a:spcBef>
                <a:spcPts val="675"/>
              </a:spcBef>
              <a:spcAft>
                <a:spcPts val="675"/>
              </a:spcAft>
              <a:buClr>
                <a:schemeClr val="accent1"/>
              </a:buClr>
            </a:pPr>
            <a:r>
              <a:rPr lang="en-US" sz="1500" b="1" dirty="0">
                <a:solidFill>
                  <a:schemeClr val="accent1"/>
                </a:solidFill>
              </a:rPr>
              <a:t>45%</a:t>
            </a:r>
            <a:r>
              <a:rPr lang="en-US" sz="1500" dirty="0"/>
              <a:t> of adults in the US reported that their mental health has been negatively impacted due to worry and stress over the virus.</a:t>
            </a:r>
            <a:r>
              <a:rPr lang="en-US" sz="1500" baseline="30000" dirty="0"/>
              <a:t>5</a:t>
            </a:r>
            <a:endParaRPr lang="en-US" sz="1500" dirty="0"/>
          </a:p>
          <a:p>
            <a:pPr marL="259556" indent="-259556">
              <a:spcBef>
                <a:spcPts val="675"/>
              </a:spcBef>
              <a:spcAft>
                <a:spcPts val="675"/>
              </a:spcAft>
              <a:buClr>
                <a:schemeClr val="accent1"/>
              </a:buClr>
            </a:pPr>
            <a:r>
              <a:rPr lang="en-US" sz="1500" dirty="0"/>
              <a:t>Crisis and suicide hotlines are fielding more and more calls and texts every day.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7EA70F6-4592-4FBA-BB8F-1A8AFCE79A61}"/>
              </a:ext>
            </a:extLst>
          </p:cNvPr>
          <p:cNvSpPr/>
          <p:nvPr/>
        </p:nvSpPr>
        <p:spPr>
          <a:xfrm>
            <a:off x="1543050" y="4511502"/>
            <a:ext cx="6172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9297" indent="-89297">
              <a:buFont typeface="+mj-lt"/>
              <a:buAutoNum type="arabicPeriod" startAt="4"/>
            </a:pPr>
            <a:r>
              <a:rPr lang="en-US" sz="600" dirty="0">
                <a:hlinkClick r:id="rId3"/>
              </a:rPr>
              <a:t>https://www.mckinsey.com/industries/healthcare-systems-and-services/our-insights/returning-to-resilience-the-impact-of-covid-19-on-behavioral-health</a:t>
            </a:r>
            <a:r>
              <a:rPr lang="en-US" sz="600" dirty="0"/>
              <a:t>; </a:t>
            </a:r>
          </a:p>
          <a:p>
            <a:pPr marL="89297" indent="-89297">
              <a:buFont typeface="+mj-lt"/>
              <a:buAutoNum type="arabicPeriod" startAt="4"/>
              <a:defRPr/>
            </a:pPr>
            <a:r>
              <a:rPr lang="en-US" sz="600" dirty="0">
                <a:hlinkClick r:id="rId4"/>
              </a:rPr>
              <a:t>https://jamanetwork.com/journals/jamanetworkopen/fullarticle/2763229</a:t>
            </a:r>
            <a:endParaRPr lang="en-US" sz="600" dirty="0">
              <a:hlinkClick r:id="rId5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0BC2EC-99F6-48F2-AE64-5772F809AE68}"/>
              </a:ext>
            </a:extLst>
          </p:cNvPr>
          <p:cNvSpPr>
            <a:spLocks noChangeAspect="1"/>
          </p:cNvSpPr>
          <p:nvPr/>
        </p:nvSpPr>
        <p:spPr bwMode="auto">
          <a:xfrm>
            <a:off x="4020114" y="3314785"/>
            <a:ext cx="1040440" cy="1021759"/>
          </a:xfrm>
          <a:prstGeom prst="rect">
            <a:avLst/>
          </a:prstGeom>
          <a:solidFill>
            <a:srgbClr val="63666A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8872" tIns="79097" rIns="98872" bIns="790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5043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/>
                <a:ea typeface="Segoe UI" pitchFamily="34" charset="0"/>
                <a:cs typeface="Arial" panose="020B0604020202020204" pitchFamily="34" charset="0"/>
              </a:rPr>
              <a:t>Anxiet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B02AFA0-373C-4645-B12C-502224401C6E}"/>
              </a:ext>
            </a:extLst>
          </p:cNvPr>
          <p:cNvSpPr>
            <a:spLocks noChangeAspect="1"/>
          </p:cNvSpPr>
          <p:nvPr/>
        </p:nvSpPr>
        <p:spPr bwMode="auto">
          <a:xfrm>
            <a:off x="2983158" y="3314785"/>
            <a:ext cx="1040440" cy="1021759"/>
          </a:xfrm>
          <a:prstGeom prst="rect">
            <a:avLst/>
          </a:prstGeom>
          <a:solidFill>
            <a:srgbClr val="F2B411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8872" tIns="79097" rIns="98872" bIns="790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5043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/>
                <a:ea typeface="Segoe UI" pitchFamily="34" charset="0"/>
                <a:cs typeface="Arial" panose="020B0604020202020204" pitchFamily="34" charset="0"/>
              </a:rPr>
              <a:t>Stres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B41E3F4-9DEB-4E03-846E-D6474AF570AF}"/>
              </a:ext>
            </a:extLst>
          </p:cNvPr>
          <p:cNvSpPr>
            <a:spLocks noChangeAspect="1"/>
          </p:cNvSpPr>
          <p:nvPr/>
        </p:nvSpPr>
        <p:spPr bwMode="auto">
          <a:xfrm>
            <a:off x="1943100" y="3314784"/>
            <a:ext cx="1040440" cy="1021759"/>
          </a:xfrm>
          <a:prstGeom prst="rect">
            <a:avLst/>
          </a:prstGeom>
          <a:solidFill>
            <a:srgbClr val="E8772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8872" tIns="79097" rIns="98872" bIns="790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5043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/>
                <a:ea typeface="Segoe UI" pitchFamily="34" charset="0"/>
                <a:cs typeface="Arial" panose="020B0604020202020204" pitchFamily="34" charset="0"/>
              </a:rPr>
              <a:t>Isola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EB8437E-908A-4935-9A1C-A5D2796357ED}"/>
              </a:ext>
            </a:extLst>
          </p:cNvPr>
          <p:cNvSpPr>
            <a:spLocks/>
          </p:cNvSpPr>
          <p:nvPr/>
        </p:nvSpPr>
        <p:spPr bwMode="auto">
          <a:xfrm>
            <a:off x="6103633" y="3314785"/>
            <a:ext cx="1042416" cy="1021842"/>
          </a:xfrm>
          <a:prstGeom prst="rect">
            <a:avLst/>
          </a:prstGeom>
          <a:solidFill>
            <a:srgbClr val="D0D0CE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8872" tIns="79097" rIns="98872" bIns="790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5043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/>
                <a:ea typeface="Segoe UI" pitchFamily="34" charset="0"/>
                <a:cs typeface="Arial" panose="020B0604020202020204" pitchFamily="34" charset="0"/>
              </a:rPr>
              <a:t>Grief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58FB59-0A59-4D38-99B9-CFE941142CC9}"/>
              </a:ext>
            </a:extLst>
          </p:cNvPr>
          <p:cNvSpPr>
            <a:spLocks/>
          </p:cNvSpPr>
          <p:nvPr/>
        </p:nvSpPr>
        <p:spPr bwMode="auto">
          <a:xfrm>
            <a:off x="5060553" y="3314700"/>
            <a:ext cx="1042416" cy="1021842"/>
          </a:xfrm>
          <a:prstGeom prst="rect">
            <a:avLst/>
          </a:prstGeom>
          <a:solidFill>
            <a:srgbClr val="888B8D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8872" tIns="79097" rIns="98872" bIns="790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5043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/>
                <a:ea typeface="Segoe UI" pitchFamily="34" charset="0"/>
                <a:cs typeface="Arial" panose="020B0604020202020204" pitchFamily="34" charset="0"/>
              </a:rPr>
              <a:t>Depress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FF5B9E8-77AC-4056-AFF8-00145678AA6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9156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94944" y="377190"/>
            <a:ext cx="7991856" cy="473202"/>
          </a:xfrm>
        </p:spPr>
        <p:txBody>
          <a:bodyPr/>
          <a:lstStyle/>
          <a:p>
            <a:r>
              <a:rPr lang="en-US" dirty="0"/>
              <a:t>Social isol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421607" y="838713"/>
            <a:ext cx="6365081" cy="532888"/>
          </a:xfrm>
        </p:spPr>
        <p:txBody>
          <a:bodyPr>
            <a:normAutofit fontScale="62500" lnSpcReduction="20000"/>
          </a:bodyPr>
          <a:lstStyle/>
          <a:p>
            <a:r>
              <a:rPr lang="en-US" dirty="0">
                <a:solidFill>
                  <a:schemeClr val="accent1"/>
                </a:solidFill>
              </a:rPr>
              <a:t>Loneliness and lack of social connectedness have been directly linked to increased morbidity and mortality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313FC5A-72E3-4000-81B7-448228B9037D}"/>
              </a:ext>
            </a:extLst>
          </p:cNvPr>
          <p:cNvSpPr/>
          <p:nvPr/>
        </p:nvSpPr>
        <p:spPr>
          <a:xfrm>
            <a:off x="1421607" y="4546685"/>
            <a:ext cx="624006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+mj-lt"/>
              <a:buAutoNum type="arabicPeriod" startAt="6"/>
              <a:defRPr/>
            </a:pPr>
            <a:r>
              <a:rPr lang="en-US" sz="600" dirty="0" err="1"/>
              <a:t>Nirmita</a:t>
            </a:r>
            <a:r>
              <a:rPr lang="en-US" sz="600" dirty="0"/>
              <a:t> Panchal, Rabah Kamal, Kendal </a:t>
            </a:r>
            <a:r>
              <a:rPr lang="en-US" sz="600" dirty="0" err="1"/>
              <a:t>Orgera</a:t>
            </a:r>
            <a:r>
              <a:rPr lang="en-US" sz="600" dirty="0"/>
              <a:t>, Cynthia Cox, Rachel Garfield, Liz Hamel, </a:t>
            </a:r>
            <a:r>
              <a:rPr lang="en-US" sz="600" dirty="0" err="1"/>
              <a:t>Cailey</a:t>
            </a:r>
            <a:r>
              <a:rPr lang="en-US" sz="600" dirty="0"/>
              <a:t> </a:t>
            </a:r>
            <a:r>
              <a:rPr lang="en-US" sz="600" dirty="0" err="1"/>
              <a:t>Muñana</a:t>
            </a:r>
            <a:r>
              <a:rPr lang="en-US" sz="600" dirty="0"/>
              <a:t>, and Priya Chidambaram, The Implications of COVID-19 for Mental Health and Substance Use (Apr 21, 2020), </a:t>
            </a:r>
            <a:r>
              <a:rPr lang="en-US" sz="600" dirty="0">
                <a:hlinkClick r:id="rId3"/>
              </a:rPr>
              <a:t>https://www.kff.org/health-reform/issue-brief/the-implications-of-covid-19-for-mental-health-and-substance-use/</a:t>
            </a:r>
            <a:endParaRPr lang="en-US" sz="60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748371C-D13E-4DAF-8946-03925E261A66}"/>
              </a:ext>
            </a:extLst>
          </p:cNvPr>
          <p:cNvGrpSpPr/>
          <p:nvPr/>
        </p:nvGrpSpPr>
        <p:grpSpPr>
          <a:xfrm>
            <a:off x="1200151" y="1458750"/>
            <a:ext cx="6568736" cy="2884650"/>
            <a:chOff x="76201" y="1873025"/>
            <a:chExt cx="8758315" cy="3846200"/>
          </a:xfrm>
        </p:grpSpPr>
        <p:sp>
          <p:nvSpPr>
            <p:cNvPr id="9" name="Rectangle 8"/>
            <p:cNvSpPr/>
            <p:nvPr/>
          </p:nvSpPr>
          <p:spPr>
            <a:xfrm>
              <a:off x="1676401" y="2782669"/>
              <a:ext cx="2667000" cy="6771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900" dirty="0"/>
                <a:t>of people sheltering in place reported negative mental health effects due to coronavirus</a:t>
              </a:r>
              <a:r>
                <a:rPr lang="en-US" sz="900" baseline="30000" dirty="0"/>
                <a:t>6</a:t>
              </a: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2045694" y="2357736"/>
              <a:ext cx="1995443" cy="4924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en-US" b="1" dirty="0">
                  <a:solidFill>
                    <a:srgbClr val="E87722"/>
                  </a:solidFill>
                </a:rPr>
                <a:t>47%</a:t>
              </a: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044773" y="2019609"/>
              <a:ext cx="2789743" cy="346679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anchor="ctr">
              <a:noAutofit/>
            </a:bodyPr>
            <a:lstStyle/>
            <a:p>
              <a:pPr marL="346472" indent="-346472">
                <a:lnSpc>
                  <a:spcPct val="150000"/>
                </a:lnSpc>
                <a:spcBef>
                  <a:spcPts val="450"/>
                </a:spcBef>
                <a:spcAft>
                  <a:spcPts val="450"/>
                </a:spcAft>
                <a:buClr>
                  <a:schemeClr val="accent1"/>
                </a:buClr>
                <a:buFont typeface="Wingdings" panose="05000000000000000000" pitchFamily="2" charset="2"/>
                <a:buChar char="v"/>
              </a:pPr>
              <a:r>
                <a:rPr lang="en-US" sz="1350" dirty="0"/>
                <a:t>High blood pressure</a:t>
              </a:r>
            </a:p>
            <a:p>
              <a:pPr marL="346472" indent="-346472">
                <a:lnSpc>
                  <a:spcPct val="150000"/>
                </a:lnSpc>
                <a:spcBef>
                  <a:spcPts val="450"/>
                </a:spcBef>
                <a:spcAft>
                  <a:spcPts val="450"/>
                </a:spcAft>
                <a:buClr>
                  <a:schemeClr val="accent1"/>
                </a:buClr>
                <a:buFont typeface="Wingdings" panose="05000000000000000000" pitchFamily="2" charset="2"/>
                <a:buChar char="v"/>
              </a:pPr>
              <a:r>
                <a:rPr lang="en-US" sz="1350" dirty="0"/>
                <a:t>Anxiety</a:t>
              </a:r>
            </a:p>
            <a:p>
              <a:pPr marL="346472" indent="-346472">
                <a:lnSpc>
                  <a:spcPct val="150000"/>
                </a:lnSpc>
                <a:spcBef>
                  <a:spcPts val="450"/>
                </a:spcBef>
                <a:spcAft>
                  <a:spcPts val="450"/>
                </a:spcAft>
                <a:buClr>
                  <a:schemeClr val="accent1"/>
                </a:buClr>
                <a:buFont typeface="Wingdings" panose="05000000000000000000" pitchFamily="2" charset="2"/>
                <a:buChar char="v"/>
              </a:pPr>
              <a:r>
                <a:rPr lang="en-US" sz="1350" dirty="0"/>
                <a:t>Obesity</a:t>
              </a:r>
            </a:p>
            <a:p>
              <a:pPr marL="346472" indent="-346472">
                <a:lnSpc>
                  <a:spcPct val="150000"/>
                </a:lnSpc>
                <a:spcBef>
                  <a:spcPts val="450"/>
                </a:spcBef>
                <a:spcAft>
                  <a:spcPts val="450"/>
                </a:spcAft>
                <a:buClr>
                  <a:schemeClr val="accent1"/>
                </a:buClr>
                <a:buFont typeface="Wingdings" panose="05000000000000000000" pitchFamily="2" charset="2"/>
                <a:buChar char="v"/>
              </a:pPr>
              <a:r>
                <a:rPr lang="en-US" sz="1350" dirty="0"/>
                <a:t>Depression</a:t>
              </a:r>
            </a:p>
            <a:p>
              <a:pPr marL="346472" indent="-346472">
                <a:lnSpc>
                  <a:spcPct val="150000"/>
                </a:lnSpc>
                <a:spcBef>
                  <a:spcPts val="450"/>
                </a:spcBef>
                <a:spcAft>
                  <a:spcPts val="450"/>
                </a:spcAft>
                <a:buClr>
                  <a:schemeClr val="accent1"/>
                </a:buClr>
                <a:buFont typeface="Wingdings" panose="05000000000000000000" pitchFamily="2" charset="2"/>
                <a:buChar char="v"/>
              </a:pPr>
              <a:r>
                <a:rPr lang="en-US" sz="1350" dirty="0"/>
                <a:t>Substance use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005180" y="4057472"/>
              <a:ext cx="1342952" cy="141577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900" dirty="0"/>
                <a:t>of those sheltering in place, reported a </a:t>
              </a:r>
              <a:r>
                <a:rPr lang="en-US" sz="900" b="1" dirty="0">
                  <a:solidFill>
                    <a:schemeClr val="accent1"/>
                  </a:solidFill>
                </a:rPr>
                <a:t>major</a:t>
              </a:r>
              <a:r>
                <a:rPr lang="en-US" sz="900" dirty="0"/>
                <a:t> </a:t>
              </a:r>
              <a:r>
                <a:rPr lang="en-US" sz="900" b="1" dirty="0">
                  <a:solidFill>
                    <a:schemeClr val="accent1"/>
                  </a:solidFill>
                </a:rPr>
                <a:t>negative</a:t>
              </a:r>
              <a:r>
                <a:rPr lang="en-US" sz="900" dirty="0"/>
                <a:t> </a:t>
              </a:r>
              <a:r>
                <a:rPr lang="en-US" sz="900" b="1" dirty="0">
                  <a:solidFill>
                    <a:schemeClr val="accent1"/>
                  </a:solidFill>
                </a:rPr>
                <a:t>impact</a:t>
              </a:r>
              <a:r>
                <a:rPr lang="en-US" sz="900" dirty="0"/>
                <a:t> on their mental health</a:t>
              </a:r>
              <a:r>
                <a:rPr lang="en-US" sz="900" b="1" baseline="30000" dirty="0"/>
                <a:t>6</a:t>
              </a:r>
              <a:endParaRPr lang="en-US" sz="900" dirty="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1219200" y="3690836"/>
              <a:ext cx="933271" cy="4924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en-US" b="1" dirty="0">
                  <a:solidFill>
                    <a:srgbClr val="E87722"/>
                  </a:solidFill>
                </a:rPr>
                <a:t>21%</a:t>
              </a:r>
              <a:endParaRPr lang="en-US" sz="900" baseline="3000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B17AB3B-CA19-44CA-8086-9F732FAE299E}"/>
                </a:ext>
              </a:extLst>
            </p:cNvPr>
            <p:cNvSpPr/>
            <p:nvPr/>
          </p:nvSpPr>
          <p:spPr>
            <a:xfrm>
              <a:off x="3790750" y="4057472"/>
              <a:ext cx="1342952" cy="141577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900" dirty="0"/>
                <a:t>of those sheltering in place, reported a </a:t>
              </a:r>
              <a:r>
                <a:rPr lang="en-US" sz="900" b="1" dirty="0">
                  <a:solidFill>
                    <a:schemeClr val="accent1"/>
                  </a:solidFill>
                </a:rPr>
                <a:t>minor</a:t>
              </a:r>
              <a:r>
                <a:rPr lang="en-US" sz="900" dirty="0"/>
                <a:t> </a:t>
              </a:r>
              <a:r>
                <a:rPr lang="en-US" sz="900" b="1" dirty="0">
                  <a:solidFill>
                    <a:schemeClr val="accent1"/>
                  </a:solidFill>
                </a:rPr>
                <a:t>negative impact</a:t>
              </a:r>
              <a:r>
                <a:rPr lang="en-US" sz="900" dirty="0"/>
                <a:t> on their mental health</a:t>
              </a:r>
              <a:r>
                <a:rPr lang="en-US" sz="900" baseline="30000" dirty="0"/>
                <a:t>6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ECD278D-F3AB-459E-AB8F-0A39DCF2ABDD}"/>
                </a:ext>
              </a:extLst>
            </p:cNvPr>
            <p:cNvSpPr/>
            <p:nvPr/>
          </p:nvSpPr>
          <p:spPr>
            <a:xfrm>
              <a:off x="4041138" y="3687353"/>
              <a:ext cx="933271" cy="4924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en-US" b="1" dirty="0">
                  <a:solidFill>
                    <a:srgbClr val="E87722"/>
                  </a:solidFill>
                </a:rPr>
                <a:t>27%</a:t>
              </a:r>
              <a:endParaRPr lang="en-US" sz="900" baseline="30000" dirty="0"/>
            </a:p>
          </p:txBody>
        </p:sp>
        <p:grpSp>
          <p:nvGrpSpPr>
            <p:cNvPr id="25" name="Group 5">
              <a:extLst>
                <a:ext uri="{FF2B5EF4-FFF2-40B4-BE49-F238E27FC236}">
                  <a16:creationId xmlns:a16="http://schemas.microsoft.com/office/drawing/2014/main" id="{FFB55F2D-67A1-4EB9-806F-F9788AF5805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201" y="1873025"/>
              <a:ext cx="5867400" cy="3846200"/>
              <a:chOff x="-564" y="899"/>
              <a:chExt cx="604" cy="499"/>
            </a:xfrm>
            <a:solidFill>
              <a:schemeClr val="accent5"/>
            </a:solidFill>
          </p:grpSpPr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D1D0835E-21D5-45C6-9EBD-596D938062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86" y="1079"/>
                <a:ext cx="460" cy="319"/>
              </a:xfrm>
              <a:custGeom>
                <a:avLst/>
                <a:gdLst>
                  <a:gd name="T0" fmla="*/ 139 w 195"/>
                  <a:gd name="T1" fmla="*/ 135 h 135"/>
                  <a:gd name="T2" fmla="*/ 127 w 195"/>
                  <a:gd name="T3" fmla="*/ 131 h 135"/>
                  <a:gd name="T4" fmla="*/ 122 w 195"/>
                  <a:gd name="T5" fmla="*/ 115 h 135"/>
                  <a:gd name="T6" fmla="*/ 122 w 195"/>
                  <a:gd name="T7" fmla="*/ 69 h 135"/>
                  <a:gd name="T8" fmla="*/ 122 w 195"/>
                  <a:gd name="T9" fmla="*/ 54 h 135"/>
                  <a:gd name="T10" fmla="*/ 73 w 195"/>
                  <a:gd name="T11" fmla="*/ 54 h 135"/>
                  <a:gd name="T12" fmla="*/ 73 w 195"/>
                  <a:gd name="T13" fmla="*/ 70 h 135"/>
                  <a:gd name="T14" fmla="*/ 73 w 195"/>
                  <a:gd name="T15" fmla="*/ 116 h 135"/>
                  <a:gd name="T16" fmla="*/ 68 w 195"/>
                  <a:gd name="T17" fmla="*/ 131 h 135"/>
                  <a:gd name="T18" fmla="*/ 54 w 195"/>
                  <a:gd name="T19" fmla="*/ 135 h 135"/>
                  <a:gd name="T20" fmla="*/ 18 w 195"/>
                  <a:gd name="T21" fmla="*/ 135 h 135"/>
                  <a:gd name="T22" fmla="*/ 4 w 195"/>
                  <a:gd name="T23" fmla="*/ 131 h 135"/>
                  <a:gd name="T24" fmla="*/ 0 w 195"/>
                  <a:gd name="T25" fmla="*/ 119 h 135"/>
                  <a:gd name="T26" fmla="*/ 0 w 195"/>
                  <a:gd name="T27" fmla="*/ 0 h 135"/>
                  <a:gd name="T28" fmla="*/ 8 w 195"/>
                  <a:gd name="T29" fmla="*/ 1 h 135"/>
                  <a:gd name="T30" fmla="*/ 8 w 195"/>
                  <a:gd name="T31" fmla="*/ 119 h 135"/>
                  <a:gd name="T32" fmla="*/ 10 w 195"/>
                  <a:gd name="T33" fmla="*/ 125 h 135"/>
                  <a:gd name="T34" fmla="*/ 18 w 195"/>
                  <a:gd name="T35" fmla="*/ 127 h 135"/>
                  <a:gd name="T36" fmla="*/ 54 w 195"/>
                  <a:gd name="T37" fmla="*/ 127 h 135"/>
                  <a:gd name="T38" fmla="*/ 63 w 195"/>
                  <a:gd name="T39" fmla="*/ 125 h 135"/>
                  <a:gd name="T40" fmla="*/ 65 w 195"/>
                  <a:gd name="T41" fmla="*/ 116 h 135"/>
                  <a:gd name="T42" fmla="*/ 65 w 195"/>
                  <a:gd name="T43" fmla="*/ 70 h 135"/>
                  <a:gd name="T44" fmla="*/ 65 w 195"/>
                  <a:gd name="T45" fmla="*/ 50 h 135"/>
                  <a:gd name="T46" fmla="*/ 65 w 195"/>
                  <a:gd name="T47" fmla="*/ 46 h 135"/>
                  <a:gd name="T48" fmla="*/ 130 w 195"/>
                  <a:gd name="T49" fmla="*/ 46 h 135"/>
                  <a:gd name="T50" fmla="*/ 130 w 195"/>
                  <a:gd name="T51" fmla="*/ 50 h 135"/>
                  <a:gd name="T52" fmla="*/ 130 w 195"/>
                  <a:gd name="T53" fmla="*/ 69 h 135"/>
                  <a:gd name="T54" fmla="*/ 130 w 195"/>
                  <a:gd name="T55" fmla="*/ 115 h 135"/>
                  <a:gd name="T56" fmla="*/ 132 w 195"/>
                  <a:gd name="T57" fmla="*/ 126 h 135"/>
                  <a:gd name="T58" fmla="*/ 141 w 195"/>
                  <a:gd name="T59" fmla="*/ 127 h 135"/>
                  <a:gd name="T60" fmla="*/ 176 w 195"/>
                  <a:gd name="T61" fmla="*/ 127 h 135"/>
                  <a:gd name="T62" fmla="*/ 185 w 195"/>
                  <a:gd name="T63" fmla="*/ 125 h 135"/>
                  <a:gd name="T64" fmla="*/ 187 w 195"/>
                  <a:gd name="T65" fmla="*/ 117 h 135"/>
                  <a:gd name="T66" fmla="*/ 187 w 195"/>
                  <a:gd name="T67" fmla="*/ 0 h 135"/>
                  <a:gd name="T68" fmla="*/ 195 w 195"/>
                  <a:gd name="T69" fmla="*/ 0 h 135"/>
                  <a:gd name="T70" fmla="*/ 195 w 195"/>
                  <a:gd name="T71" fmla="*/ 116 h 135"/>
                  <a:gd name="T72" fmla="*/ 190 w 195"/>
                  <a:gd name="T73" fmla="*/ 131 h 135"/>
                  <a:gd name="T74" fmla="*/ 176 w 195"/>
                  <a:gd name="T75" fmla="*/ 135 h 135"/>
                  <a:gd name="T76" fmla="*/ 142 w 195"/>
                  <a:gd name="T77" fmla="*/ 135 h 135"/>
                  <a:gd name="T78" fmla="*/ 139 w 195"/>
                  <a:gd name="T79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95" h="135">
                    <a:moveTo>
                      <a:pt x="139" y="135"/>
                    </a:moveTo>
                    <a:cubicBezTo>
                      <a:pt x="133" y="135"/>
                      <a:pt x="130" y="134"/>
                      <a:pt x="127" y="131"/>
                    </a:cubicBezTo>
                    <a:cubicBezTo>
                      <a:pt x="122" y="127"/>
                      <a:pt x="122" y="120"/>
                      <a:pt x="122" y="115"/>
                    </a:cubicBezTo>
                    <a:cubicBezTo>
                      <a:pt x="123" y="100"/>
                      <a:pt x="122" y="85"/>
                      <a:pt x="122" y="69"/>
                    </a:cubicBezTo>
                    <a:cubicBezTo>
                      <a:pt x="122" y="64"/>
                      <a:pt x="122" y="59"/>
                      <a:pt x="122" y="54"/>
                    </a:cubicBezTo>
                    <a:cubicBezTo>
                      <a:pt x="73" y="54"/>
                      <a:pt x="73" y="54"/>
                      <a:pt x="73" y="54"/>
                    </a:cubicBezTo>
                    <a:cubicBezTo>
                      <a:pt x="73" y="59"/>
                      <a:pt x="73" y="65"/>
                      <a:pt x="73" y="70"/>
                    </a:cubicBezTo>
                    <a:cubicBezTo>
                      <a:pt x="73" y="86"/>
                      <a:pt x="73" y="101"/>
                      <a:pt x="73" y="116"/>
                    </a:cubicBezTo>
                    <a:cubicBezTo>
                      <a:pt x="73" y="123"/>
                      <a:pt x="72" y="128"/>
                      <a:pt x="68" y="131"/>
                    </a:cubicBezTo>
                    <a:cubicBezTo>
                      <a:pt x="65" y="134"/>
                      <a:pt x="61" y="135"/>
                      <a:pt x="54" y="135"/>
                    </a:cubicBezTo>
                    <a:cubicBezTo>
                      <a:pt x="43" y="134"/>
                      <a:pt x="32" y="134"/>
                      <a:pt x="18" y="135"/>
                    </a:cubicBezTo>
                    <a:cubicBezTo>
                      <a:pt x="12" y="135"/>
                      <a:pt x="7" y="134"/>
                      <a:pt x="4" y="131"/>
                    </a:cubicBezTo>
                    <a:cubicBezTo>
                      <a:pt x="1" y="128"/>
                      <a:pt x="0" y="124"/>
                      <a:pt x="0" y="119"/>
                    </a:cubicBezTo>
                    <a:cubicBezTo>
                      <a:pt x="0" y="106"/>
                      <a:pt x="0" y="26"/>
                      <a:pt x="0" y="0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26"/>
                      <a:pt x="8" y="106"/>
                      <a:pt x="8" y="119"/>
                    </a:cubicBezTo>
                    <a:cubicBezTo>
                      <a:pt x="8" y="122"/>
                      <a:pt x="9" y="124"/>
                      <a:pt x="10" y="125"/>
                    </a:cubicBezTo>
                    <a:cubicBezTo>
                      <a:pt x="11" y="127"/>
                      <a:pt x="14" y="127"/>
                      <a:pt x="18" y="127"/>
                    </a:cubicBezTo>
                    <a:cubicBezTo>
                      <a:pt x="32" y="126"/>
                      <a:pt x="44" y="126"/>
                      <a:pt x="54" y="127"/>
                    </a:cubicBezTo>
                    <a:cubicBezTo>
                      <a:pt x="59" y="127"/>
                      <a:pt x="61" y="127"/>
                      <a:pt x="63" y="125"/>
                    </a:cubicBezTo>
                    <a:cubicBezTo>
                      <a:pt x="65" y="124"/>
                      <a:pt x="65" y="121"/>
                      <a:pt x="65" y="116"/>
                    </a:cubicBezTo>
                    <a:cubicBezTo>
                      <a:pt x="65" y="101"/>
                      <a:pt x="65" y="86"/>
                      <a:pt x="65" y="70"/>
                    </a:cubicBezTo>
                    <a:cubicBezTo>
                      <a:pt x="65" y="63"/>
                      <a:pt x="65" y="57"/>
                      <a:pt x="65" y="50"/>
                    </a:cubicBezTo>
                    <a:cubicBezTo>
                      <a:pt x="65" y="46"/>
                      <a:pt x="65" y="46"/>
                      <a:pt x="65" y="46"/>
                    </a:cubicBezTo>
                    <a:cubicBezTo>
                      <a:pt x="130" y="46"/>
                      <a:pt x="130" y="46"/>
                      <a:pt x="130" y="46"/>
                    </a:cubicBezTo>
                    <a:cubicBezTo>
                      <a:pt x="130" y="50"/>
                      <a:pt x="130" y="50"/>
                      <a:pt x="130" y="50"/>
                    </a:cubicBezTo>
                    <a:cubicBezTo>
                      <a:pt x="130" y="56"/>
                      <a:pt x="130" y="63"/>
                      <a:pt x="130" y="69"/>
                    </a:cubicBezTo>
                    <a:cubicBezTo>
                      <a:pt x="130" y="85"/>
                      <a:pt x="131" y="100"/>
                      <a:pt x="130" y="115"/>
                    </a:cubicBezTo>
                    <a:cubicBezTo>
                      <a:pt x="130" y="121"/>
                      <a:pt x="131" y="124"/>
                      <a:pt x="132" y="126"/>
                    </a:cubicBezTo>
                    <a:cubicBezTo>
                      <a:pt x="134" y="127"/>
                      <a:pt x="137" y="127"/>
                      <a:pt x="141" y="127"/>
                    </a:cubicBezTo>
                    <a:cubicBezTo>
                      <a:pt x="152" y="126"/>
                      <a:pt x="163" y="126"/>
                      <a:pt x="176" y="127"/>
                    </a:cubicBezTo>
                    <a:cubicBezTo>
                      <a:pt x="181" y="127"/>
                      <a:pt x="183" y="127"/>
                      <a:pt x="185" y="125"/>
                    </a:cubicBezTo>
                    <a:cubicBezTo>
                      <a:pt x="186" y="124"/>
                      <a:pt x="187" y="121"/>
                      <a:pt x="187" y="117"/>
                    </a:cubicBezTo>
                    <a:cubicBezTo>
                      <a:pt x="186" y="100"/>
                      <a:pt x="187" y="19"/>
                      <a:pt x="187" y="0"/>
                    </a:cubicBezTo>
                    <a:cubicBezTo>
                      <a:pt x="195" y="0"/>
                      <a:pt x="195" y="0"/>
                      <a:pt x="195" y="0"/>
                    </a:cubicBezTo>
                    <a:cubicBezTo>
                      <a:pt x="195" y="19"/>
                      <a:pt x="194" y="100"/>
                      <a:pt x="195" y="116"/>
                    </a:cubicBezTo>
                    <a:cubicBezTo>
                      <a:pt x="195" y="121"/>
                      <a:pt x="195" y="127"/>
                      <a:pt x="190" y="131"/>
                    </a:cubicBezTo>
                    <a:cubicBezTo>
                      <a:pt x="187" y="134"/>
                      <a:pt x="183" y="135"/>
                      <a:pt x="176" y="135"/>
                    </a:cubicBezTo>
                    <a:cubicBezTo>
                      <a:pt x="163" y="134"/>
                      <a:pt x="152" y="134"/>
                      <a:pt x="142" y="135"/>
                    </a:cubicBezTo>
                    <a:cubicBezTo>
                      <a:pt x="141" y="135"/>
                      <a:pt x="140" y="135"/>
                      <a:pt x="139" y="1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F610EE1C-558B-4450-93FA-FB1E4EAE3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4" y="899"/>
                <a:ext cx="604" cy="253"/>
              </a:xfrm>
              <a:custGeom>
                <a:avLst/>
                <a:gdLst>
                  <a:gd name="T0" fmla="*/ 5 w 256"/>
                  <a:gd name="T1" fmla="*/ 107 h 107"/>
                  <a:gd name="T2" fmla="*/ 0 w 256"/>
                  <a:gd name="T3" fmla="*/ 101 h 107"/>
                  <a:gd name="T4" fmla="*/ 59 w 256"/>
                  <a:gd name="T5" fmla="*/ 54 h 107"/>
                  <a:gd name="T6" fmla="*/ 116 w 256"/>
                  <a:gd name="T7" fmla="*/ 8 h 107"/>
                  <a:gd name="T8" fmla="*/ 140 w 256"/>
                  <a:gd name="T9" fmla="*/ 7 h 107"/>
                  <a:gd name="T10" fmla="*/ 193 w 256"/>
                  <a:gd name="T11" fmla="*/ 47 h 107"/>
                  <a:gd name="T12" fmla="*/ 256 w 256"/>
                  <a:gd name="T13" fmla="*/ 95 h 107"/>
                  <a:gd name="T14" fmla="*/ 251 w 256"/>
                  <a:gd name="T15" fmla="*/ 101 h 107"/>
                  <a:gd name="T16" fmla="*/ 188 w 256"/>
                  <a:gd name="T17" fmla="*/ 54 h 107"/>
                  <a:gd name="T18" fmla="*/ 135 w 256"/>
                  <a:gd name="T19" fmla="*/ 13 h 107"/>
                  <a:gd name="T20" fmla="*/ 121 w 256"/>
                  <a:gd name="T21" fmla="*/ 14 h 107"/>
                  <a:gd name="T22" fmla="*/ 64 w 256"/>
                  <a:gd name="T23" fmla="*/ 60 h 107"/>
                  <a:gd name="T24" fmla="*/ 5 w 256"/>
                  <a:gd name="T25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6" h="107">
                    <a:moveTo>
                      <a:pt x="5" y="107"/>
                    </a:moveTo>
                    <a:cubicBezTo>
                      <a:pt x="0" y="101"/>
                      <a:pt x="0" y="101"/>
                      <a:pt x="0" y="101"/>
                    </a:cubicBezTo>
                    <a:cubicBezTo>
                      <a:pt x="11" y="92"/>
                      <a:pt x="35" y="72"/>
                      <a:pt x="59" y="54"/>
                    </a:cubicBezTo>
                    <a:cubicBezTo>
                      <a:pt x="82" y="35"/>
                      <a:pt x="106" y="16"/>
                      <a:pt x="116" y="8"/>
                    </a:cubicBezTo>
                    <a:cubicBezTo>
                      <a:pt x="125" y="1"/>
                      <a:pt x="131" y="0"/>
                      <a:pt x="140" y="7"/>
                    </a:cubicBezTo>
                    <a:cubicBezTo>
                      <a:pt x="150" y="15"/>
                      <a:pt x="171" y="31"/>
                      <a:pt x="193" y="47"/>
                    </a:cubicBezTo>
                    <a:cubicBezTo>
                      <a:pt x="218" y="66"/>
                      <a:pt x="244" y="85"/>
                      <a:pt x="256" y="95"/>
                    </a:cubicBezTo>
                    <a:cubicBezTo>
                      <a:pt x="251" y="101"/>
                      <a:pt x="251" y="101"/>
                      <a:pt x="251" y="101"/>
                    </a:cubicBezTo>
                    <a:cubicBezTo>
                      <a:pt x="239" y="92"/>
                      <a:pt x="213" y="72"/>
                      <a:pt x="188" y="54"/>
                    </a:cubicBezTo>
                    <a:cubicBezTo>
                      <a:pt x="166" y="37"/>
                      <a:pt x="145" y="22"/>
                      <a:pt x="135" y="13"/>
                    </a:cubicBezTo>
                    <a:cubicBezTo>
                      <a:pt x="130" y="9"/>
                      <a:pt x="127" y="9"/>
                      <a:pt x="121" y="14"/>
                    </a:cubicBezTo>
                    <a:cubicBezTo>
                      <a:pt x="111" y="23"/>
                      <a:pt x="87" y="42"/>
                      <a:pt x="64" y="60"/>
                    </a:cubicBezTo>
                    <a:cubicBezTo>
                      <a:pt x="40" y="79"/>
                      <a:pt x="16" y="98"/>
                      <a:pt x="5" y="10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97DEEA1-D00F-4E55-8896-0706A0234C0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4894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94944" y="377190"/>
            <a:ext cx="7991856" cy="473202"/>
          </a:xfrm>
        </p:spPr>
        <p:txBody>
          <a:bodyPr/>
          <a:lstStyle/>
          <a:p>
            <a:r>
              <a:rPr lang="en-US" dirty="0"/>
              <a:t>Stres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US" dirty="0">
                <a:solidFill>
                  <a:schemeClr val="accent1"/>
                </a:solidFill>
              </a:rPr>
              <a:t>Stress is the body’s internal alarm that prepares it for action; the natural instinct to protect oneself</a:t>
            </a:r>
          </a:p>
        </p:txBody>
      </p:sp>
      <p:sp>
        <p:nvSpPr>
          <p:cNvPr id="73" name="Freeform 46"/>
          <p:cNvSpPr>
            <a:spLocks/>
          </p:cNvSpPr>
          <p:nvPr/>
        </p:nvSpPr>
        <p:spPr bwMode="auto">
          <a:xfrm>
            <a:off x="3389378" y="2255561"/>
            <a:ext cx="34289" cy="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500" dirty="0">
              <a:solidFill>
                <a:srgbClr val="53565A"/>
              </a:solidFill>
            </a:endParaRPr>
          </a:p>
        </p:txBody>
      </p:sp>
      <p:sp>
        <p:nvSpPr>
          <p:cNvPr id="79" name="Oval 172"/>
          <p:cNvSpPr/>
          <p:nvPr/>
        </p:nvSpPr>
        <p:spPr>
          <a:xfrm>
            <a:off x="1485900" y="1593237"/>
            <a:ext cx="2419685" cy="638849"/>
          </a:xfrm>
          <a:prstGeom prst="roundRect">
            <a:avLst/>
          </a:prstGeom>
          <a:solidFill>
            <a:schemeClr val="accent1"/>
          </a:solidFill>
          <a:ln w="28575">
            <a:solidFill>
              <a:schemeClr val="bg1">
                <a:lumMod val="95000"/>
              </a:schemeClr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ctr"/>
          <a:lstStyle/>
          <a:p>
            <a:pPr algn="ctr"/>
            <a:r>
              <a:rPr lang="en-US" sz="1500" b="1" dirty="0">
                <a:solidFill>
                  <a:schemeClr val="bg1"/>
                </a:solidFill>
              </a:rPr>
              <a:t>Avoid</a:t>
            </a:r>
          </a:p>
        </p:txBody>
      </p:sp>
      <p:sp>
        <p:nvSpPr>
          <p:cNvPr id="80" name="Freeform 46"/>
          <p:cNvSpPr>
            <a:spLocks/>
          </p:cNvSpPr>
          <p:nvPr/>
        </p:nvSpPr>
        <p:spPr bwMode="auto">
          <a:xfrm>
            <a:off x="2478216" y="1167611"/>
            <a:ext cx="6742" cy="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500" dirty="0"/>
          </a:p>
        </p:txBody>
      </p:sp>
      <p:sp>
        <p:nvSpPr>
          <p:cNvPr id="89" name="Content Placeholder 3"/>
          <p:cNvSpPr>
            <a:spLocks noGrp="1"/>
          </p:cNvSpPr>
          <p:nvPr>
            <p:ph idx="1"/>
          </p:nvPr>
        </p:nvSpPr>
        <p:spPr>
          <a:xfrm>
            <a:off x="4712970" y="1680063"/>
            <a:ext cx="2705153" cy="1291737"/>
          </a:xfrm>
          <a:noFill/>
        </p:spPr>
        <p:txBody>
          <a:bodyPr anchor="ctr">
            <a:noAutofit/>
          </a:bodyPr>
          <a:lstStyle/>
          <a:p>
            <a:pPr marL="85725" algn="ctr" fontAlgn="ctr">
              <a:lnSpc>
                <a:spcPct val="100000"/>
              </a:lnSpc>
              <a:buNone/>
              <a:defRPr/>
            </a:pPr>
            <a:r>
              <a:rPr lang="en-US" b="1" dirty="0">
                <a:solidFill>
                  <a:schemeClr val="accent1"/>
                </a:solidFill>
              </a:rPr>
              <a:t>30%</a:t>
            </a:r>
            <a:r>
              <a:rPr lang="en-US" dirty="0"/>
              <a:t> </a:t>
            </a:r>
          </a:p>
          <a:p>
            <a:pPr marL="85725" algn="ctr" fontAlgn="ctr">
              <a:lnSpc>
                <a:spcPct val="100000"/>
              </a:lnSpc>
              <a:buNone/>
              <a:defRPr/>
            </a:pPr>
            <a:r>
              <a:rPr lang="en-US" sz="1500" dirty="0"/>
              <a:t>of people experience “secondhand stress” from the stress of others</a:t>
            </a:r>
            <a:r>
              <a:rPr lang="en-US" sz="1500" baseline="30000" dirty="0"/>
              <a:t>7</a:t>
            </a:r>
          </a:p>
        </p:txBody>
      </p:sp>
      <p:sp>
        <p:nvSpPr>
          <p:cNvPr id="93" name="Oval 172"/>
          <p:cNvSpPr/>
          <p:nvPr/>
        </p:nvSpPr>
        <p:spPr>
          <a:xfrm>
            <a:off x="1771650" y="2274723"/>
            <a:ext cx="2419685" cy="638849"/>
          </a:xfrm>
          <a:prstGeom prst="roundRect">
            <a:avLst/>
          </a:prstGeom>
          <a:solidFill>
            <a:schemeClr val="accent3"/>
          </a:solidFill>
          <a:ln w="28575">
            <a:solidFill>
              <a:schemeClr val="bg1">
                <a:lumMod val="95000"/>
              </a:schemeClr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ctr"/>
          <a:lstStyle/>
          <a:p>
            <a:pPr algn="ctr"/>
            <a:r>
              <a:rPr lang="en-US" sz="1500" b="1" dirty="0">
                <a:solidFill>
                  <a:schemeClr val="bg1"/>
                </a:solidFill>
              </a:rPr>
              <a:t>Complain</a:t>
            </a:r>
          </a:p>
        </p:txBody>
      </p:sp>
      <p:sp>
        <p:nvSpPr>
          <p:cNvPr id="94" name="Oval 172"/>
          <p:cNvSpPr/>
          <p:nvPr/>
        </p:nvSpPr>
        <p:spPr>
          <a:xfrm>
            <a:off x="2116885" y="2961062"/>
            <a:ext cx="2419685" cy="638849"/>
          </a:xfrm>
          <a:prstGeom prst="roundRect">
            <a:avLst/>
          </a:prstGeom>
          <a:solidFill>
            <a:schemeClr val="accent2"/>
          </a:solidFill>
          <a:ln w="28575">
            <a:solidFill>
              <a:schemeClr val="bg1">
                <a:lumMod val="95000"/>
              </a:schemeClr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ctr"/>
          <a:lstStyle/>
          <a:p>
            <a:pPr algn="ctr"/>
            <a:r>
              <a:rPr lang="en-US" sz="1500" b="1" dirty="0">
                <a:solidFill>
                  <a:schemeClr val="bg1"/>
                </a:solidFill>
              </a:rPr>
              <a:t>Obsess</a:t>
            </a:r>
          </a:p>
        </p:txBody>
      </p:sp>
      <p:sp>
        <p:nvSpPr>
          <p:cNvPr id="95" name="Oval 172"/>
          <p:cNvSpPr/>
          <p:nvPr/>
        </p:nvSpPr>
        <p:spPr>
          <a:xfrm>
            <a:off x="2438065" y="3647401"/>
            <a:ext cx="2419685" cy="638849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bg1">
                <a:lumMod val="95000"/>
              </a:schemeClr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ctr"/>
          <a:lstStyle/>
          <a:p>
            <a:pPr algn="ctr"/>
            <a:r>
              <a:rPr lang="en-US" sz="1500" b="1" dirty="0">
                <a:solidFill>
                  <a:schemeClr val="bg1"/>
                </a:solidFill>
              </a:rPr>
              <a:t>Self-doub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3EC17F7-D180-45D6-B3C5-7DFAAB556C35}"/>
              </a:ext>
            </a:extLst>
          </p:cNvPr>
          <p:cNvSpPr/>
          <p:nvPr/>
        </p:nvSpPr>
        <p:spPr>
          <a:xfrm>
            <a:off x="1578540" y="4466451"/>
            <a:ext cx="6136711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fontAlgn="ctr">
              <a:defRPr/>
            </a:pPr>
            <a:r>
              <a:rPr lang="en-US" sz="600" dirty="0"/>
              <a:t>7. Advisory Board, How to be a less-stressed leader; August 2018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58B40F8-7E0C-4FB2-B798-3D995947CF6A}"/>
              </a:ext>
            </a:extLst>
          </p:cNvPr>
          <p:cNvSpPr/>
          <p:nvPr/>
        </p:nvSpPr>
        <p:spPr>
          <a:xfrm>
            <a:off x="4972050" y="3298135"/>
            <a:ext cx="257175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dirty="0">
                <a:ea typeface="Calibri" panose="020F0502020204030204" pitchFamily="34" charset="0"/>
                <a:cs typeface="Times New Roman" panose="02020603050405020304" pitchFamily="18" charset="0"/>
              </a:rPr>
              <a:t>Stress is contagious</a:t>
            </a:r>
          </a:p>
          <a:p>
            <a:pPr algn="r"/>
            <a:r>
              <a:rPr lang="en-US" sz="1500" b="1" dirty="0">
                <a:ea typeface="Calibri" panose="020F0502020204030204" pitchFamily="34" charset="0"/>
                <a:cs typeface="Times New Roman" panose="02020603050405020304" pitchFamily="18" charset="0"/>
              </a:rPr>
              <a:t>but so is wellness </a:t>
            </a:r>
            <a:endParaRPr lang="en-US" sz="1500" b="1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FDBF55-07AB-48AF-8F3E-9DAC4D9C88E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9274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94944" y="377190"/>
            <a:ext cx="7991856" cy="473202"/>
          </a:xfrm>
        </p:spPr>
        <p:txBody>
          <a:bodyPr/>
          <a:lstStyle/>
          <a:p>
            <a:r>
              <a:rPr lang="en-US" dirty="0"/>
              <a:t>Anxiety</a:t>
            </a:r>
            <a:r>
              <a:rPr lang="en-US" baseline="0" dirty="0"/>
              <a:t> 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US" dirty="0">
                <a:solidFill>
                  <a:schemeClr val="accent1"/>
                </a:solidFill>
              </a:rPr>
              <a:t>Anxiety disorders occur when you feel worried or fearful about everyday events. 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8310646"/>
              </p:ext>
            </p:extLst>
          </p:nvPr>
        </p:nvGraphicFramePr>
        <p:xfrm>
          <a:off x="1657350" y="3486151"/>
          <a:ext cx="5897880" cy="1284755"/>
        </p:xfrm>
        <a:graphic>
          <a:graphicData uri="http://schemas.openxmlformats.org/drawingml/2006/table">
            <a:tbl>
              <a:tblPr firstRow="1">
                <a:tableStyleId>{7E9639D4-E3E2-4D34-9284-5A2195B3D0D7}</a:tableStyleId>
              </a:tblPr>
              <a:tblGrid>
                <a:gridCol w="26060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060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7015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Emotional</a:t>
                      </a:r>
                      <a:r>
                        <a:rPr lang="en-US" sz="1100" baseline="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 Symptoms</a:t>
                      </a:r>
                      <a:endParaRPr lang="en-US" sz="1100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 marL="68580" marR="68580" marT="34290" marB="3429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accent1"/>
                          </a:solidFill>
                        </a:rPr>
                        <a:t>Physical Symptoms</a:t>
                      </a:r>
                    </a:p>
                  </a:txBody>
                  <a:tcPr marL="68580" marR="68580" marT="34290" marB="34290" anchor="ctr">
                    <a:lnL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80110">
                <a:tc>
                  <a:txBody>
                    <a:bodyPr/>
                    <a:lstStyle/>
                    <a:p>
                      <a:pPr marL="285750" indent="-285750" algn="l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US" sz="1100" u="none" strike="noStrike" kern="1200" baseline="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Feelings of dread 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US" sz="1100" u="none" strike="noStrike" kern="1200" baseline="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Feeling tense, jumpy, or moody 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US" sz="1100" u="none" strike="noStrike" kern="1200" baseline="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Expecting the worst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US" sz="1100" u="none" strike="noStrike" kern="1200" baseline="0" dirty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Watching for signs of danger</a:t>
                      </a:r>
                      <a:endParaRPr lang="en-US" sz="1100" b="0" i="0" u="none" strike="noStrike" kern="1200" baseline="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Courier New" panose="02070309020205020404" pitchFamily="49" charset="0"/>
                        <a:buChar char="o"/>
                      </a:pPr>
                      <a:endParaRPr lang="en-US" sz="1100" dirty="0"/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 algn="l" defTabSz="685800" rtl="0" eaLnBrk="1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US" sz="1100" u="none" strike="noStrike" kern="1200" baseline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Racing heart, sweating, shaking hands, and shortness of breath </a:t>
                      </a:r>
                    </a:p>
                    <a:p>
                      <a:pPr marL="285750" indent="-285750" algn="l" defTabSz="685800" rtl="0" eaLnBrk="1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US" sz="1100" u="none" strike="noStrike" kern="1200" baseline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Headaches, feeling tired, insomnia</a:t>
                      </a:r>
                    </a:p>
                    <a:p>
                      <a:pPr marL="285750" indent="-285750" algn="l" defTabSz="685800" rtl="0" eaLnBrk="1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en-US" sz="1100" u="none" strike="noStrike" kern="1200" baseline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Upset stomach, diarrhea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2B2DF2-E2A9-4BDE-877B-0C8BBE386D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7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D0A54E1-38C1-4B37-A9AD-12D35F20F162}"/>
              </a:ext>
            </a:extLst>
          </p:cNvPr>
          <p:cNvGrpSpPr/>
          <p:nvPr/>
        </p:nvGrpSpPr>
        <p:grpSpPr>
          <a:xfrm>
            <a:off x="1262743" y="1300300"/>
            <a:ext cx="6117771" cy="2071600"/>
            <a:chOff x="1262743" y="1300300"/>
            <a:chExt cx="6117771" cy="2071600"/>
          </a:xfrm>
        </p:grpSpPr>
        <p:grpSp>
          <p:nvGrpSpPr>
            <p:cNvPr id="7" name="Group 6"/>
            <p:cNvGrpSpPr>
              <a:grpSpLocks noChangeAspect="1"/>
            </p:cNvGrpSpPr>
            <p:nvPr/>
          </p:nvGrpSpPr>
          <p:grpSpPr>
            <a:xfrm>
              <a:off x="1262743" y="1300300"/>
              <a:ext cx="6117771" cy="2071600"/>
              <a:chOff x="-267854" y="-70490"/>
              <a:chExt cx="9961044" cy="4646152"/>
            </a:xfrm>
          </p:grpSpPr>
          <p:sp>
            <p:nvSpPr>
              <p:cNvPr id="28" name="Oval 27"/>
              <p:cNvSpPr>
                <a:spLocks noChangeAspect="1"/>
              </p:cNvSpPr>
              <p:nvPr/>
            </p:nvSpPr>
            <p:spPr>
              <a:xfrm>
                <a:off x="3121697" y="1383521"/>
                <a:ext cx="2194560" cy="2194560"/>
              </a:xfrm>
              <a:prstGeom prst="ellipse">
                <a:avLst/>
              </a:prstGeom>
              <a:solidFill>
                <a:srgbClr val="888B8D">
                  <a:alpha val="85098"/>
                </a:srgbClr>
              </a:solidFill>
              <a:ln>
                <a:noFill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200" b="1" dirty="0">
                    <a:solidFill>
                      <a:srgbClr val="FFFFFF"/>
                    </a:solidFill>
                    <a:latin typeface="Arial"/>
                  </a:rPr>
                  <a:t>money</a:t>
                </a:r>
              </a:p>
            </p:txBody>
          </p:sp>
          <p:sp>
            <p:nvSpPr>
              <p:cNvPr id="29" name="Oval 28"/>
              <p:cNvSpPr>
                <a:spLocks noChangeAspect="1"/>
              </p:cNvSpPr>
              <p:nvPr/>
            </p:nvSpPr>
            <p:spPr>
              <a:xfrm>
                <a:off x="1186914" y="1066800"/>
                <a:ext cx="2089686" cy="2045822"/>
              </a:xfrm>
              <a:prstGeom prst="ellipse">
                <a:avLst/>
              </a:prstGeom>
              <a:solidFill>
                <a:schemeClr val="accent1">
                  <a:alpha val="85098"/>
                </a:schemeClr>
              </a:solidFill>
              <a:ln>
                <a:noFill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900" b="1" dirty="0">
                    <a:solidFill>
                      <a:srgbClr val="FFFFFF"/>
                    </a:solidFill>
                  </a:rPr>
                  <a:t>COVID-19</a:t>
                </a:r>
              </a:p>
            </p:txBody>
          </p:sp>
          <p:sp>
            <p:nvSpPr>
              <p:cNvPr id="10" name="Freeform 58"/>
              <p:cNvSpPr>
                <a:spLocks noEditPoints="1"/>
              </p:cNvSpPr>
              <p:nvPr/>
            </p:nvSpPr>
            <p:spPr bwMode="gray">
              <a:xfrm>
                <a:off x="1186913" y="4114800"/>
                <a:ext cx="210764" cy="280447"/>
              </a:xfrm>
              <a:custGeom>
                <a:avLst/>
                <a:gdLst>
                  <a:gd name="T0" fmla="*/ 72 w 192"/>
                  <a:gd name="T1" fmla="*/ 109 h 256"/>
                  <a:gd name="T2" fmla="*/ 59 w 192"/>
                  <a:gd name="T3" fmla="*/ 98 h 256"/>
                  <a:gd name="T4" fmla="*/ 39 w 192"/>
                  <a:gd name="T5" fmla="*/ 76 h 256"/>
                  <a:gd name="T6" fmla="*/ 35 w 192"/>
                  <a:gd name="T7" fmla="*/ 59 h 256"/>
                  <a:gd name="T8" fmla="*/ 42 w 192"/>
                  <a:gd name="T9" fmla="*/ 41 h 256"/>
                  <a:gd name="T10" fmla="*/ 55 w 192"/>
                  <a:gd name="T11" fmla="*/ 34 h 256"/>
                  <a:gd name="T12" fmla="*/ 70 w 192"/>
                  <a:gd name="T13" fmla="*/ 36 h 256"/>
                  <a:gd name="T14" fmla="*/ 76 w 192"/>
                  <a:gd name="T15" fmla="*/ 39 h 256"/>
                  <a:gd name="T16" fmla="*/ 105 w 192"/>
                  <a:gd name="T17" fmla="*/ 37 h 256"/>
                  <a:gd name="T18" fmla="*/ 115 w 192"/>
                  <a:gd name="T19" fmla="*/ 52 h 256"/>
                  <a:gd name="T20" fmla="*/ 114 w 192"/>
                  <a:gd name="T21" fmla="*/ 72 h 256"/>
                  <a:gd name="T22" fmla="*/ 98 w 192"/>
                  <a:gd name="T23" fmla="*/ 93 h 256"/>
                  <a:gd name="T24" fmla="*/ 79 w 192"/>
                  <a:gd name="T25" fmla="*/ 109 h 256"/>
                  <a:gd name="T26" fmla="*/ 59 w 192"/>
                  <a:gd name="T27" fmla="*/ 42 h 256"/>
                  <a:gd name="T28" fmla="*/ 51 w 192"/>
                  <a:gd name="T29" fmla="*/ 44 h 256"/>
                  <a:gd name="T30" fmla="*/ 45 w 192"/>
                  <a:gd name="T31" fmla="*/ 50 h 256"/>
                  <a:gd name="T32" fmla="*/ 43 w 192"/>
                  <a:gd name="T33" fmla="*/ 64 h 256"/>
                  <a:gd name="T34" fmla="*/ 52 w 192"/>
                  <a:gd name="T35" fmla="*/ 80 h 256"/>
                  <a:gd name="T36" fmla="*/ 74 w 192"/>
                  <a:gd name="T37" fmla="*/ 100 h 256"/>
                  <a:gd name="T38" fmla="*/ 79 w 192"/>
                  <a:gd name="T39" fmla="*/ 99 h 256"/>
                  <a:gd name="T40" fmla="*/ 101 w 192"/>
                  <a:gd name="T41" fmla="*/ 78 h 256"/>
                  <a:gd name="T42" fmla="*/ 108 w 192"/>
                  <a:gd name="T43" fmla="*/ 61 h 256"/>
                  <a:gd name="T44" fmla="*/ 107 w 192"/>
                  <a:gd name="T45" fmla="*/ 52 h 256"/>
                  <a:gd name="T46" fmla="*/ 87 w 192"/>
                  <a:gd name="T47" fmla="*/ 42 h 256"/>
                  <a:gd name="T48" fmla="*/ 79 w 192"/>
                  <a:gd name="T49" fmla="*/ 48 h 256"/>
                  <a:gd name="T50" fmla="*/ 73 w 192"/>
                  <a:gd name="T51" fmla="*/ 48 h 256"/>
                  <a:gd name="T52" fmla="*/ 62 w 192"/>
                  <a:gd name="T53" fmla="*/ 42 h 256"/>
                  <a:gd name="T54" fmla="*/ 100 w 192"/>
                  <a:gd name="T55" fmla="*/ 256 h 256"/>
                  <a:gd name="T56" fmla="*/ 25 w 192"/>
                  <a:gd name="T57" fmla="*/ 212 h 256"/>
                  <a:gd name="T58" fmla="*/ 11 w 192"/>
                  <a:gd name="T59" fmla="*/ 145 h 256"/>
                  <a:gd name="T60" fmla="*/ 84 w 192"/>
                  <a:gd name="T61" fmla="*/ 0 h 256"/>
                  <a:gd name="T62" fmla="*/ 177 w 192"/>
                  <a:gd name="T63" fmla="*/ 77 h 256"/>
                  <a:gd name="T64" fmla="*/ 174 w 192"/>
                  <a:gd name="T65" fmla="*/ 94 h 256"/>
                  <a:gd name="T66" fmla="*/ 189 w 192"/>
                  <a:gd name="T67" fmla="*/ 129 h 256"/>
                  <a:gd name="T68" fmla="*/ 181 w 192"/>
                  <a:gd name="T69" fmla="*/ 152 h 256"/>
                  <a:gd name="T70" fmla="*/ 170 w 192"/>
                  <a:gd name="T71" fmla="*/ 186 h 256"/>
                  <a:gd name="T72" fmla="*/ 131 w 192"/>
                  <a:gd name="T73" fmla="*/ 209 h 256"/>
                  <a:gd name="T74" fmla="*/ 114 w 192"/>
                  <a:gd name="T75" fmla="*/ 242 h 256"/>
                  <a:gd name="T76" fmla="*/ 100 w 192"/>
                  <a:gd name="T77" fmla="*/ 256 h 256"/>
                  <a:gd name="T78" fmla="*/ 8 w 192"/>
                  <a:gd name="T79" fmla="*/ 85 h 256"/>
                  <a:gd name="T80" fmla="*/ 29 w 192"/>
                  <a:gd name="T81" fmla="*/ 205 h 256"/>
                  <a:gd name="T82" fmla="*/ 103 w 192"/>
                  <a:gd name="T83" fmla="*/ 247 h 256"/>
                  <a:gd name="T84" fmla="*/ 106 w 192"/>
                  <a:gd name="T85" fmla="*/ 227 h 256"/>
                  <a:gd name="T86" fmla="*/ 145 w 192"/>
                  <a:gd name="T87" fmla="*/ 201 h 256"/>
                  <a:gd name="T88" fmla="*/ 165 w 192"/>
                  <a:gd name="T89" fmla="*/ 152 h 256"/>
                  <a:gd name="T90" fmla="*/ 178 w 192"/>
                  <a:gd name="T91" fmla="*/ 144 h 256"/>
                  <a:gd name="T92" fmla="*/ 182 w 192"/>
                  <a:gd name="T93" fmla="*/ 133 h 256"/>
                  <a:gd name="T94" fmla="*/ 166 w 192"/>
                  <a:gd name="T95" fmla="*/ 92 h 256"/>
                  <a:gd name="T96" fmla="*/ 101 w 192"/>
                  <a:gd name="T97" fmla="*/ 8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92" h="256">
                    <a:moveTo>
                      <a:pt x="76" y="110"/>
                    </a:moveTo>
                    <a:cubicBezTo>
                      <a:pt x="75" y="110"/>
                      <a:pt x="73" y="109"/>
                      <a:pt x="72" y="109"/>
                    </a:cubicBezTo>
                    <a:cubicBezTo>
                      <a:pt x="71" y="108"/>
                      <a:pt x="70" y="107"/>
                      <a:pt x="69" y="106"/>
                    </a:cubicBezTo>
                    <a:cubicBezTo>
                      <a:pt x="65" y="104"/>
                      <a:pt x="62" y="101"/>
                      <a:pt x="59" y="98"/>
                    </a:cubicBezTo>
                    <a:cubicBezTo>
                      <a:pt x="54" y="94"/>
                      <a:pt x="49" y="90"/>
                      <a:pt x="46" y="86"/>
                    </a:cubicBezTo>
                    <a:cubicBezTo>
                      <a:pt x="43" y="82"/>
                      <a:pt x="41" y="79"/>
                      <a:pt x="39" y="76"/>
                    </a:cubicBezTo>
                    <a:cubicBezTo>
                      <a:pt x="37" y="73"/>
                      <a:pt x="36" y="69"/>
                      <a:pt x="35" y="66"/>
                    </a:cubicBezTo>
                    <a:cubicBezTo>
                      <a:pt x="35" y="63"/>
                      <a:pt x="35" y="61"/>
                      <a:pt x="35" y="59"/>
                    </a:cubicBezTo>
                    <a:cubicBezTo>
                      <a:pt x="35" y="54"/>
                      <a:pt x="36" y="50"/>
                      <a:pt x="38" y="46"/>
                    </a:cubicBezTo>
                    <a:cubicBezTo>
                      <a:pt x="39" y="44"/>
                      <a:pt x="41" y="42"/>
                      <a:pt x="42" y="41"/>
                    </a:cubicBezTo>
                    <a:cubicBezTo>
                      <a:pt x="44" y="39"/>
                      <a:pt x="45" y="38"/>
                      <a:pt x="48" y="37"/>
                    </a:cubicBezTo>
                    <a:cubicBezTo>
                      <a:pt x="50" y="35"/>
                      <a:pt x="53" y="35"/>
                      <a:pt x="55" y="34"/>
                    </a:cubicBezTo>
                    <a:cubicBezTo>
                      <a:pt x="58" y="34"/>
                      <a:pt x="60" y="34"/>
                      <a:pt x="63" y="34"/>
                    </a:cubicBezTo>
                    <a:cubicBezTo>
                      <a:pt x="65" y="35"/>
                      <a:pt x="68" y="35"/>
                      <a:pt x="70" y="36"/>
                    </a:cubicBezTo>
                    <a:cubicBezTo>
                      <a:pt x="72" y="37"/>
                      <a:pt x="74" y="38"/>
                      <a:pt x="76" y="40"/>
                    </a:cubicBezTo>
                    <a:cubicBezTo>
                      <a:pt x="76" y="40"/>
                      <a:pt x="76" y="39"/>
                      <a:pt x="76" y="39"/>
                    </a:cubicBezTo>
                    <a:cubicBezTo>
                      <a:pt x="79" y="37"/>
                      <a:pt x="82" y="35"/>
                      <a:pt x="85" y="35"/>
                    </a:cubicBezTo>
                    <a:cubicBezTo>
                      <a:pt x="92" y="33"/>
                      <a:pt x="99" y="34"/>
                      <a:pt x="105" y="37"/>
                    </a:cubicBezTo>
                    <a:cubicBezTo>
                      <a:pt x="109" y="40"/>
                      <a:pt x="112" y="44"/>
                      <a:pt x="114" y="48"/>
                    </a:cubicBezTo>
                    <a:cubicBezTo>
                      <a:pt x="115" y="50"/>
                      <a:pt x="115" y="51"/>
                      <a:pt x="115" y="52"/>
                    </a:cubicBezTo>
                    <a:cubicBezTo>
                      <a:pt x="116" y="56"/>
                      <a:pt x="116" y="59"/>
                      <a:pt x="116" y="62"/>
                    </a:cubicBezTo>
                    <a:cubicBezTo>
                      <a:pt x="116" y="65"/>
                      <a:pt x="115" y="69"/>
                      <a:pt x="114" y="72"/>
                    </a:cubicBezTo>
                    <a:cubicBezTo>
                      <a:pt x="113" y="76"/>
                      <a:pt x="110" y="80"/>
                      <a:pt x="107" y="83"/>
                    </a:cubicBezTo>
                    <a:cubicBezTo>
                      <a:pt x="105" y="87"/>
                      <a:pt x="102" y="90"/>
                      <a:pt x="98" y="93"/>
                    </a:cubicBezTo>
                    <a:cubicBezTo>
                      <a:pt x="94" y="97"/>
                      <a:pt x="89" y="102"/>
                      <a:pt x="84" y="106"/>
                    </a:cubicBezTo>
                    <a:cubicBezTo>
                      <a:pt x="82" y="107"/>
                      <a:pt x="80" y="108"/>
                      <a:pt x="79" y="109"/>
                    </a:cubicBezTo>
                    <a:cubicBezTo>
                      <a:pt x="78" y="109"/>
                      <a:pt x="77" y="110"/>
                      <a:pt x="76" y="110"/>
                    </a:cubicBezTo>
                    <a:close/>
                    <a:moveTo>
                      <a:pt x="59" y="42"/>
                    </a:moveTo>
                    <a:cubicBezTo>
                      <a:pt x="58" y="42"/>
                      <a:pt x="57" y="42"/>
                      <a:pt x="57" y="42"/>
                    </a:cubicBezTo>
                    <a:cubicBezTo>
                      <a:pt x="55" y="42"/>
                      <a:pt x="53" y="43"/>
                      <a:pt x="51" y="44"/>
                    </a:cubicBezTo>
                    <a:cubicBezTo>
                      <a:pt x="50" y="45"/>
                      <a:pt x="49" y="46"/>
                      <a:pt x="48" y="46"/>
                    </a:cubicBezTo>
                    <a:cubicBezTo>
                      <a:pt x="47" y="47"/>
                      <a:pt x="46" y="49"/>
                      <a:pt x="45" y="50"/>
                    </a:cubicBezTo>
                    <a:cubicBezTo>
                      <a:pt x="44" y="53"/>
                      <a:pt x="43" y="56"/>
                      <a:pt x="43" y="59"/>
                    </a:cubicBezTo>
                    <a:cubicBezTo>
                      <a:pt x="43" y="61"/>
                      <a:pt x="43" y="63"/>
                      <a:pt x="43" y="64"/>
                    </a:cubicBezTo>
                    <a:cubicBezTo>
                      <a:pt x="44" y="67"/>
                      <a:pt x="45" y="70"/>
                      <a:pt x="46" y="72"/>
                    </a:cubicBezTo>
                    <a:cubicBezTo>
                      <a:pt x="47" y="75"/>
                      <a:pt x="49" y="77"/>
                      <a:pt x="52" y="80"/>
                    </a:cubicBezTo>
                    <a:cubicBezTo>
                      <a:pt x="55" y="84"/>
                      <a:pt x="59" y="88"/>
                      <a:pt x="64" y="92"/>
                    </a:cubicBezTo>
                    <a:cubicBezTo>
                      <a:pt x="67" y="95"/>
                      <a:pt x="70" y="97"/>
                      <a:pt x="74" y="100"/>
                    </a:cubicBezTo>
                    <a:cubicBezTo>
                      <a:pt x="74" y="100"/>
                      <a:pt x="75" y="101"/>
                      <a:pt x="76" y="101"/>
                    </a:cubicBezTo>
                    <a:cubicBezTo>
                      <a:pt x="77" y="101"/>
                      <a:pt x="78" y="100"/>
                      <a:pt x="79" y="99"/>
                    </a:cubicBezTo>
                    <a:cubicBezTo>
                      <a:pt x="84" y="95"/>
                      <a:pt x="89" y="91"/>
                      <a:pt x="93" y="87"/>
                    </a:cubicBezTo>
                    <a:cubicBezTo>
                      <a:pt x="96" y="85"/>
                      <a:pt x="99" y="82"/>
                      <a:pt x="101" y="78"/>
                    </a:cubicBezTo>
                    <a:cubicBezTo>
                      <a:pt x="104" y="75"/>
                      <a:pt x="105" y="72"/>
                      <a:pt x="106" y="69"/>
                    </a:cubicBezTo>
                    <a:cubicBezTo>
                      <a:pt x="107" y="67"/>
                      <a:pt x="108" y="64"/>
                      <a:pt x="108" y="61"/>
                    </a:cubicBezTo>
                    <a:cubicBezTo>
                      <a:pt x="108" y="59"/>
                      <a:pt x="108" y="56"/>
                      <a:pt x="108" y="54"/>
                    </a:cubicBezTo>
                    <a:cubicBezTo>
                      <a:pt x="107" y="53"/>
                      <a:pt x="107" y="52"/>
                      <a:pt x="107" y="52"/>
                    </a:cubicBezTo>
                    <a:cubicBezTo>
                      <a:pt x="106" y="48"/>
                      <a:pt x="104" y="46"/>
                      <a:pt x="101" y="44"/>
                    </a:cubicBezTo>
                    <a:cubicBezTo>
                      <a:pt x="97" y="42"/>
                      <a:pt x="92" y="41"/>
                      <a:pt x="87" y="42"/>
                    </a:cubicBezTo>
                    <a:cubicBezTo>
                      <a:pt x="85" y="43"/>
                      <a:pt x="83" y="44"/>
                      <a:pt x="82" y="45"/>
                    </a:cubicBezTo>
                    <a:cubicBezTo>
                      <a:pt x="80" y="46"/>
                      <a:pt x="80" y="47"/>
                      <a:pt x="79" y="48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3" y="48"/>
                      <a:pt x="73" y="48"/>
                      <a:pt x="73" y="48"/>
                    </a:cubicBezTo>
                    <a:cubicBezTo>
                      <a:pt x="71" y="46"/>
                      <a:pt x="69" y="45"/>
                      <a:pt x="67" y="44"/>
                    </a:cubicBezTo>
                    <a:cubicBezTo>
                      <a:pt x="65" y="43"/>
                      <a:pt x="64" y="42"/>
                      <a:pt x="62" y="42"/>
                    </a:cubicBezTo>
                    <a:cubicBezTo>
                      <a:pt x="61" y="42"/>
                      <a:pt x="60" y="42"/>
                      <a:pt x="59" y="42"/>
                    </a:cubicBezTo>
                    <a:close/>
                    <a:moveTo>
                      <a:pt x="100" y="256"/>
                    </a:moveTo>
                    <a:cubicBezTo>
                      <a:pt x="98" y="256"/>
                      <a:pt x="95" y="255"/>
                      <a:pt x="93" y="254"/>
                    </a:cubicBezTo>
                    <a:cubicBezTo>
                      <a:pt x="25" y="212"/>
                      <a:pt x="25" y="212"/>
                      <a:pt x="25" y="212"/>
                    </a:cubicBezTo>
                    <a:cubicBezTo>
                      <a:pt x="23" y="211"/>
                      <a:pt x="21" y="208"/>
                      <a:pt x="21" y="205"/>
                    </a:cubicBezTo>
                    <a:cubicBezTo>
                      <a:pt x="21" y="182"/>
                      <a:pt x="16" y="163"/>
                      <a:pt x="11" y="145"/>
                    </a:cubicBezTo>
                    <a:cubicBezTo>
                      <a:pt x="5" y="127"/>
                      <a:pt x="0" y="108"/>
                      <a:pt x="0" y="85"/>
                    </a:cubicBezTo>
                    <a:cubicBezTo>
                      <a:pt x="0" y="38"/>
                      <a:pt x="38" y="0"/>
                      <a:pt x="84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43" y="0"/>
                      <a:pt x="177" y="34"/>
                      <a:pt x="177" y="77"/>
                    </a:cubicBezTo>
                    <a:cubicBezTo>
                      <a:pt x="177" y="77"/>
                      <a:pt x="177" y="78"/>
                      <a:pt x="177" y="78"/>
                    </a:cubicBezTo>
                    <a:cubicBezTo>
                      <a:pt x="174" y="94"/>
                      <a:pt x="174" y="94"/>
                      <a:pt x="174" y="94"/>
                    </a:cubicBezTo>
                    <a:cubicBezTo>
                      <a:pt x="174" y="96"/>
                      <a:pt x="174" y="98"/>
                      <a:pt x="175" y="100"/>
                    </a:cubicBezTo>
                    <a:cubicBezTo>
                      <a:pt x="189" y="129"/>
                      <a:pt x="189" y="129"/>
                      <a:pt x="189" y="129"/>
                    </a:cubicBezTo>
                    <a:cubicBezTo>
                      <a:pt x="191" y="133"/>
                      <a:pt x="192" y="138"/>
                      <a:pt x="190" y="142"/>
                    </a:cubicBezTo>
                    <a:cubicBezTo>
                      <a:pt x="188" y="147"/>
                      <a:pt x="185" y="150"/>
                      <a:pt x="181" y="152"/>
                    </a:cubicBezTo>
                    <a:cubicBezTo>
                      <a:pt x="173" y="155"/>
                      <a:pt x="173" y="155"/>
                      <a:pt x="173" y="155"/>
                    </a:cubicBezTo>
                    <a:cubicBezTo>
                      <a:pt x="170" y="186"/>
                      <a:pt x="170" y="186"/>
                      <a:pt x="170" y="186"/>
                    </a:cubicBezTo>
                    <a:cubicBezTo>
                      <a:pt x="169" y="199"/>
                      <a:pt x="158" y="209"/>
                      <a:pt x="145" y="209"/>
                    </a:cubicBezTo>
                    <a:cubicBezTo>
                      <a:pt x="131" y="209"/>
                      <a:pt x="131" y="209"/>
                      <a:pt x="131" y="209"/>
                    </a:cubicBezTo>
                    <a:cubicBezTo>
                      <a:pt x="121" y="209"/>
                      <a:pt x="114" y="217"/>
                      <a:pt x="114" y="227"/>
                    </a:cubicBezTo>
                    <a:cubicBezTo>
                      <a:pt x="114" y="242"/>
                      <a:pt x="114" y="242"/>
                      <a:pt x="114" y="242"/>
                    </a:cubicBezTo>
                    <a:cubicBezTo>
                      <a:pt x="114" y="247"/>
                      <a:pt x="111" y="252"/>
                      <a:pt x="107" y="254"/>
                    </a:cubicBezTo>
                    <a:cubicBezTo>
                      <a:pt x="105" y="255"/>
                      <a:pt x="102" y="256"/>
                      <a:pt x="100" y="256"/>
                    </a:cubicBezTo>
                    <a:close/>
                    <a:moveTo>
                      <a:pt x="84" y="8"/>
                    </a:moveTo>
                    <a:cubicBezTo>
                      <a:pt x="42" y="8"/>
                      <a:pt x="8" y="43"/>
                      <a:pt x="8" y="85"/>
                    </a:cubicBezTo>
                    <a:cubicBezTo>
                      <a:pt x="8" y="107"/>
                      <a:pt x="13" y="125"/>
                      <a:pt x="18" y="143"/>
                    </a:cubicBezTo>
                    <a:cubicBezTo>
                      <a:pt x="24" y="161"/>
                      <a:pt x="29" y="181"/>
                      <a:pt x="29" y="205"/>
                    </a:cubicBezTo>
                    <a:cubicBezTo>
                      <a:pt x="97" y="247"/>
                      <a:pt x="97" y="247"/>
                      <a:pt x="97" y="247"/>
                    </a:cubicBezTo>
                    <a:cubicBezTo>
                      <a:pt x="99" y="248"/>
                      <a:pt x="101" y="248"/>
                      <a:pt x="103" y="247"/>
                    </a:cubicBezTo>
                    <a:cubicBezTo>
                      <a:pt x="105" y="246"/>
                      <a:pt x="106" y="244"/>
                      <a:pt x="106" y="242"/>
                    </a:cubicBezTo>
                    <a:cubicBezTo>
                      <a:pt x="106" y="227"/>
                      <a:pt x="106" y="227"/>
                      <a:pt x="106" y="227"/>
                    </a:cubicBezTo>
                    <a:cubicBezTo>
                      <a:pt x="106" y="212"/>
                      <a:pt x="117" y="201"/>
                      <a:pt x="131" y="201"/>
                    </a:cubicBezTo>
                    <a:cubicBezTo>
                      <a:pt x="145" y="201"/>
                      <a:pt x="145" y="201"/>
                      <a:pt x="145" y="201"/>
                    </a:cubicBezTo>
                    <a:cubicBezTo>
                      <a:pt x="154" y="201"/>
                      <a:pt x="161" y="194"/>
                      <a:pt x="162" y="185"/>
                    </a:cubicBezTo>
                    <a:cubicBezTo>
                      <a:pt x="165" y="152"/>
                      <a:pt x="165" y="152"/>
                      <a:pt x="165" y="152"/>
                    </a:cubicBezTo>
                    <a:cubicBezTo>
                      <a:pt x="165" y="150"/>
                      <a:pt x="166" y="149"/>
                      <a:pt x="167" y="148"/>
                    </a:cubicBezTo>
                    <a:cubicBezTo>
                      <a:pt x="178" y="144"/>
                      <a:pt x="178" y="144"/>
                      <a:pt x="178" y="144"/>
                    </a:cubicBezTo>
                    <a:cubicBezTo>
                      <a:pt x="180" y="143"/>
                      <a:pt x="182" y="142"/>
                      <a:pt x="182" y="139"/>
                    </a:cubicBezTo>
                    <a:cubicBezTo>
                      <a:pt x="183" y="137"/>
                      <a:pt x="183" y="135"/>
                      <a:pt x="182" y="133"/>
                    </a:cubicBezTo>
                    <a:cubicBezTo>
                      <a:pt x="168" y="103"/>
                      <a:pt x="168" y="103"/>
                      <a:pt x="168" y="103"/>
                    </a:cubicBezTo>
                    <a:cubicBezTo>
                      <a:pt x="166" y="100"/>
                      <a:pt x="165" y="96"/>
                      <a:pt x="166" y="92"/>
                    </a:cubicBezTo>
                    <a:cubicBezTo>
                      <a:pt x="169" y="77"/>
                      <a:pt x="169" y="77"/>
                      <a:pt x="169" y="77"/>
                    </a:cubicBezTo>
                    <a:cubicBezTo>
                      <a:pt x="169" y="39"/>
                      <a:pt x="139" y="8"/>
                      <a:pt x="101" y="8"/>
                    </a:cubicBezTo>
                    <a:lnTo>
                      <a:pt x="84" y="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67236" tIns="33618" rIns="67236" bIns="3361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25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Oval 11"/>
              <p:cNvSpPr>
                <a:spLocks noChangeAspect="1"/>
              </p:cNvSpPr>
              <p:nvPr/>
            </p:nvSpPr>
            <p:spPr>
              <a:xfrm>
                <a:off x="685800" y="2465097"/>
                <a:ext cx="1822949" cy="1822949"/>
              </a:xfrm>
              <a:prstGeom prst="ellipse">
                <a:avLst/>
              </a:prstGeom>
              <a:solidFill>
                <a:srgbClr val="424242">
                  <a:alpha val="85098"/>
                </a:srgbClr>
              </a:solidFill>
              <a:ln>
                <a:noFill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25" b="1" dirty="0">
                    <a:solidFill>
                      <a:srgbClr val="FFFFFF"/>
                    </a:solidFill>
                  </a:rPr>
                  <a:t>spouse</a:t>
                </a:r>
              </a:p>
            </p:txBody>
          </p:sp>
          <p:sp>
            <p:nvSpPr>
              <p:cNvPr id="13" name="Oval 12"/>
              <p:cNvSpPr>
                <a:spLocks noChangeAspect="1"/>
              </p:cNvSpPr>
              <p:nvPr/>
            </p:nvSpPr>
            <p:spPr>
              <a:xfrm>
                <a:off x="2106840" y="2438400"/>
                <a:ext cx="1481469" cy="1481469"/>
              </a:xfrm>
              <a:prstGeom prst="ellipse">
                <a:avLst/>
              </a:prstGeom>
              <a:solidFill>
                <a:schemeClr val="accent2">
                  <a:alpha val="85098"/>
                </a:schemeClr>
              </a:solidFill>
              <a:ln>
                <a:noFill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200" b="1" dirty="0">
                    <a:solidFill>
                      <a:srgbClr val="FFFFFF"/>
                    </a:solidFill>
                  </a:rPr>
                  <a:t>kids</a:t>
                </a:r>
              </a:p>
            </p:txBody>
          </p:sp>
          <p:sp>
            <p:nvSpPr>
              <p:cNvPr id="14" name="Oval 13"/>
              <p:cNvSpPr>
                <a:spLocks noChangeAspect="1"/>
              </p:cNvSpPr>
              <p:nvPr/>
            </p:nvSpPr>
            <p:spPr>
              <a:xfrm>
                <a:off x="3947722" y="3112622"/>
                <a:ext cx="1463040" cy="1463040"/>
              </a:xfrm>
              <a:prstGeom prst="ellipse">
                <a:avLst/>
              </a:prstGeom>
              <a:solidFill>
                <a:schemeClr val="tx1">
                  <a:alpha val="85098"/>
                </a:schemeClr>
              </a:solidFill>
              <a:ln>
                <a:noFill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75" b="1" dirty="0">
                    <a:solidFill>
                      <a:srgbClr val="FFFFFF"/>
                    </a:solidFill>
                  </a:rPr>
                  <a:t>projects</a:t>
                </a:r>
              </a:p>
            </p:txBody>
          </p:sp>
          <p:sp>
            <p:nvSpPr>
              <p:cNvPr id="15" name="Oval 14"/>
              <p:cNvSpPr>
                <a:spLocks noChangeAspect="1"/>
              </p:cNvSpPr>
              <p:nvPr/>
            </p:nvSpPr>
            <p:spPr>
              <a:xfrm>
                <a:off x="2952785" y="3240566"/>
                <a:ext cx="1271047" cy="1271047"/>
              </a:xfrm>
              <a:prstGeom prst="ellipse">
                <a:avLst/>
              </a:prstGeom>
              <a:solidFill>
                <a:schemeClr val="accent1">
                  <a:alpha val="85098"/>
                </a:schemeClr>
              </a:solidFill>
              <a:ln>
                <a:noFill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500" b="1" dirty="0">
                    <a:solidFill>
                      <a:srgbClr val="FFFFFF"/>
                    </a:solidFill>
                  </a:rPr>
                  <a:t>job</a:t>
                </a:r>
              </a:p>
            </p:txBody>
          </p:sp>
          <p:sp>
            <p:nvSpPr>
              <p:cNvPr id="16" name="Oval 15"/>
              <p:cNvSpPr>
                <a:spLocks noChangeAspect="1"/>
              </p:cNvSpPr>
              <p:nvPr/>
            </p:nvSpPr>
            <p:spPr>
              <a:xfrm>
                <a:off x="4724962" y="1319765"/>
                <a:ext cx="1371600" cy="1371600"/>
              </a:xfrm>
              <a:prstGeom prst="ellipse">
                <a:avLst/>
              </a:prstGeom>
              <a:solidFill>
                <a:schemeClr val="accent1">
                  <a:alpha val="85098"/>
                </a:schemeClr>
              </a:solidFill>
              <a:ln>
                <a:noFill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788" b="1" dirty="0">
                    <a:solidFill>
                      <a:srgbClr val="FFFFFF"/>
                    </a:solidFill>
                  </a:rPr>
                  <a:t>school</a:t>
                </a:r>
              </a:p>
            </p:txBody>
          </p:sp>
          <p:sp>
            <p:nvSpPr>
              <p:cNvPr id="17" name="Oval 16"/>
              <p:cNvSpPr>
                <a:spLocks noChangeAspect="1"/>
              </p:cNvSpPr>
              <p:nvPr/>
            </p:nvSpPr>
            <p:spPr>
              <a:xfrm>
                <a:off x="5781721" y="1259560"/>
                <a:ext cx="1822949" cy="1822949"/>
              </a:xfrm>
              <a:prstGeom prst="ellipse">
                <a:avLst/>
              </a:prstGeom>
              <a:solidFill>
                <a:schemeClr val="tx1">
                  <a:alpha val="85098"/>
                </a:schemeClr>
              </a:solidFill>
              <a:ln>
                <a:noFill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900" b="1" dirty="0">
                    <a:solidFill>
                      <a:srgbClr val="FFFFFF"/>
                    </a:solidFill>
                  </a:rPr>
                  <a:t>parents</a:t>
                </a:r>
              </a:p>
            </p:txBody>
          </p:sp>
          <p:sp>
            <p:nvSpPr>
              <p:cNvPr id="18" name="Oval 17"/>
              <p:cNvSpPr>
                <a:spLocks noChangeAspect="1"/>
              </p:cNvSpPr>
              <p:nvPr/>
            </p:nvSpPr>
            <p:spPr>
              <a:xfrm>
                <a:off x="5050379" y="2550385"/>
                <a:ext cx="1828800" cy="1828800"/>
              </a:xfrm>
              <a:prstGeom prst="ellipse">
                <a:avLst/>
              </a:prstGeom>
              <a:solidFill>
                <a:schemeClr val="accent2">
                  <a:alpha val="85098"/>
                </a:schemeClr>
              </a:solidFill>
              <a:ln>
                <a:noFill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25" b="1" dirty="0">
                    <a:solidFill>
                      <a:srgbClr val="FFFFFF"/>
                    </a:solidFill>
                  </a:rPr>
                  <a:t>grocery shopping</a:t>
                </a:r>
              </a:p>
            </p:txBody>
          </p:sp>
          <p:sp>
            <p:nvSpPr>
              <p:cNvPr id="19" name="Oval 18"/>
              <p:cNvSpPr>
                <a:spLocks noChangeAspect="1"/>
              </p:cNvSpPr>
              <p:nvPr/>
            </p:nvSpPr>
            <p:spPr>
              <a:xfrm>
                <a:off x="7096700" y="857341"/>
                <a:ext cx="1524000" cy="1492010"/>
              </a:xfrm>
              <a:prstGeom prst="ellipse">
                <a:avLst/>
              </a:prstGeom>
              <a:solidFill>
                <a:schemeClr val="accent1">
                  <a:alpha val="85098"/>
                </a:schemeClr>
              </a:solidFill>
              <a:ln>
                <a:noFill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25" b="1" dirty="0">
                    <a:solidFill>
                      <a:srgbClr val="FFFFFF"/>
                    </a:solidFill>
                  </a:rPr>
                  <a:t>friends</a:t>
                </a:r>
              </a:p>
            </p:txBody>
          </p:sp>
          <p:sp>
            <p:nvSpPr>
              <p:cNvPr id="20" name="Oval 19"/>
              <p:cNvSpPr>
                <a:spLocks noChangeAspect="1"/>
              </p:cNvSpPr>
              <p:nvPr/>
            </p:nvSpPr>
            <p:spPr>
              <a:xfrm>
                <a:off x="6705600" y="2268214"/>
                <a:ext cx="2194560" cy="2194560"/>
              </a:xfrm>
              <a:prstGeom prst="ellipse">
                <a:avLst/>
              </a:prstGeom>
              <a:solidFill>
                <a:srgbClr val="888B8D">
                  <a:alpha val="85098"/>
                </a:srgbClr>
              </a:solidFill>
              <a:ln>
                <a:noFill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788" b="1" dirty="0">
                    <a:solidFill>
                      <a:srgbClr val="FFFFFF"/>
                    </a:solidFill>
                    <a:latin typeface="Arial"/>
                  </a:rPr>
                  <a:t>contamination</a:t>
                </a:r>
              </a:p>
            </p:txBody>
          </p:sp>
          <p:sp>
            <p:nvSpPr>
              <p:cNvPr id="21" name="Oval 20"/>
              <p:cNvSpPr>
                <a:spLocks noChangeAspect="1"/>
              </p:cNvSpPr>
              <p:nvPr/>
            </p:nvSpPr>
            <p:spPr>
              <a:xfrm>
                <a:off x="-267854" y="1296285"/>
                <a:ext cx="1865127" cy="1865127"/>
              </a:xfrm>
              <a:prstGeom prst="ellipse">
                <a:avLst/>
              </a:prstGeom>
              <a:solidFill>
                <a:srgbClr val="888B8D">
                  <a:alpha val="85098"/>
                </a:srgbClr>
              </a:solidFill>
              <a:ln>
                <a:noFill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050" b="1" dirty="0">
                    <a:solidFill>
                      <a:srgbClr val="FFFFFF"/>
                    </a:solidFill>
                    <a:latin typeface="Arial"/>
                  </a:rPr>
                  <a:t>college visits</a:t>
                </a:r>
              </a:p>
            </p:txBody>
          </p:sp>
          <p:sp>
            <p:nvSpPr>
              <p:cNvPr id="22" name="Oval 21"/>
              <p:cNvSpPr>
                <a:spLocks noChangeAspect="1"/>
              </p:cNvSpPr>
              <p:nvPr/>
            </p:nvSpPr>
            <p:spPr>
              <a:xfrm>
                <a:off x="1818684" y="-70490"/>
                <a:ext cx="1481469" cy="1481469"/>
              </a:xfrm>
              <a:prstGeom prst="ellipse">
                <a:avLst/>
              </a:prstGeom>
              <a:solidFill>
                <a:schemeClr val="accent2">
                  <a:alpha val="85098"/>
                </a:schemeClr>
              </a:solidFill>
              <a:ln>
                <a:noFill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900" b="1" dirty="0">
                    <a:solidFill>
                      <a:srgbClr val="FFFFFF"/>
                    </a:solidFill>
                  </a:rPr>
                  <a:t>toilet paper</a:t>
                </a:r>
              </a:p>
            </p:txBody>
          </p:sp>
          <p:sp>
            <p:nvSpPr>
              <p:cNvPr id="23" name="Oval 22"/>
              <p:cNvSpPr>
                <a:spLocks noChangeAspect="1"/>
              </p:cNvSpPr>
              <p:nvPr/>
            </p:nvSpPr>
            <p:spPr>
              <a:xfrm>
                <a:off x="8107129" y="1475183"/>
                <a:ext cx="1586061" cy="1586061"/>
              </a:xfrm>
              <a:prstGeom prst="ellipse">
                <a:avLst/>
              </a:prstGeom>
              <a:solidFill>
                <a:schemeClr val="accent2">
                  <a:alpha val="85098"/>
                </a:schemeClr>
              </a:solidFill>
              <a:ln>
                <a:noFill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750" b="1" dirty="0">
                    <a:solidFill>
                      <a:srgbClr val="FFFFFF"/>
                    </a:solidFill>
                  </a:rPr>
                  <a:t>frontline workers</a:t>
                </a:r>
              </a:p>
            </p:txBody>
          </p:sp>
          <p:sp>
            <p:nvSpPr>
              <p:cNvPr id="24" name="Oval 23"/>
              <p:cNvSpPr>
                <a:spLocks noChangeAspect="1"/>
              </p:cNvSpPr>
              <p:nvPr/>
            </p:nvSpPr>
            <p:spPr>
              <a:xfrm>
                <a:off x="661165" y="347819"/>
                <a:ext cx="1255527" cy="1255527"/>
              </a:xfrm>
              <a:prstGeom prst="ellipse">
                <a:avLst/>
              </a:prstGeom>
              <a:solidFill>
                <a:schemeClr val="tx1">
                  <a:alpha val="85098"/>
                </a:schemeClr>
              </a:solidFill>
              <a:ln>
                <a:noFill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050" b="1" dirty="0">
                    <a:solidFill>
                      <a:srgbClr val="FFFFFF"/>
                    </a:solidFill>
                    <a:latin typeface="Arial"/>
                  </a:rPr>
                  <a:t>diet</a:t>
                </a:r>
              </a:p>
            </p:txBody>
          </p:sp>
          <p:sp>
            <p:nvSpPr>
              <p:cNvPr id="25" name="Oval 24"/>
              <p:cNvSpPr>
                <a:spLocks noChangeAspect="1"/>
              </p:cNvSpPr>
              <p:nvPr/>
            </p:nvSpPr>
            <p:spPr>
              <a:xfrm>
                <a:off x="5554651" y="-6688"/>
                <a:ext cx="1728057" cy="1728057"/>
              </a:xfrm>
              <a:prstGeom prst="ellipse">
                <a:avLst/>
              </a:prstGeom>
              <a:solidFill>
                <a:srgbClr val="888B8D">
                  <a:alpha val="85098"/>
                </a:srgbClr>
              </a:solidFill>
              <a:ln>
                <a:noFill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25" b="1" dirty="0">
                    <a:solidFill>
                      <a:srgbClr val="FFFFFF"/>
                    </a:solidFill>
                    <a:latin typeface="Arial"/>
                  </a:rPr>
                  <a:t>exercise</a:t>
                </a:r>
              </a:p>
            </p:txBody>
          </p:sp>
          <p:sp>
            <p:nvSpPr>
              <p:cNvPr id="26" name="Oval 25"/>
              <p:cNvSpPr>
                <a:spLocks noChangeAspect="1"/>
              </p:cNvSpPr>
              <p:nvPr/>
            </p:nvSpPr>
            <p:spPr>
              <a:xfrm>
                <a:off x="2888314" y="513555"/>
                <a:ext cx="1524000" cy="1492010"/>
              </a:xfrm>
              <a:prstGeom prst="ellipse">
                <a:avLst/>
              </a:prstGeom>
              <a:solidFill>
                <a:schemeClr val="tx1">
                  <a:alpha val="85098"/>
                </a:schemeClr>
              </a:solidFill>
              <a:ln>
                <a:noFill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900" b="1" dirty="0">
                    <a:solidFill>
                      <a:srgbClr val="FFFFFF"/>
                    </a:solidFill>
                  </a:rPr>
                  <a:t>school</a:t>
                </a:r>
              </a:p>
            </p:txBody>
          </p:sp>
          <p:sp>
            <p:nvSpPr>
              <p:cNvPr id="27" name="Oval 26"/>
              <p:cNvSpPr>
                <a:spLocks noChangeAspect="1"/>
              </p:cNvSpPr>
              <p:nvPr/>
            </p:nvSpPr>
            <p:spPr>
              <a:xfrm>
                <a:off x="4257348" y="182552"/>
                <a:ext cx="1586061" cy="1586061"/>
              </a:xfrm>
              <a:prstGeom prst="ellipse">
                <a:avLst/>
              </a:prstGeom>
              <a:solidFill>
                <a:schemeClr val="accent2">
                  <a:alpha val="85098"/>
                </a:schemeClr>
              </a:solidFill>
              <a:ln>
                <a:noFill/>
              </a:ln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25" b="1" dirty="0">
                    <a:solidFill>
                      <a:srgbClr val="FFFFFF"/>
                    </a:solidFill>
                  </a:rPr>
                  <a:t>alcohol use</a:t>
                </a:r>
              </a:p>
            </p:txBody>
          </p:sp>
        </p:grp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EDF1BAC3-405F-46DC-B85F-6FD766E386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89716" y="1352384"/>
              <a:ext cx="935995" cy="665249"/>
            </a:xfrm>
            <a:prstGeom prst="ellipse">
              <a:avLst/>
            </a:prstGeom>
            <a:solidFill>
              <a:schemeClr val="tx1">
                <a:alpha val="85098"/>
              </a:schemeClr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00" b="1" dirty="0">
                  <a:solidFill>
                    <a:srgbClr val="FFFFFF"/>
                  </a:solidFill>
                </a:rPr>
                <a:t>Social unres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842817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94944" y="377190"/>
            <a:ext cx="7991856" cy="473202"/>
          </a:xfrm>
        </p:spPr>
        <p:txBody>
          <a:bodyPr/>
          <a:lstStyle/>
          <a:p>
            <a:r>
              <a:rPr lang="en-US" baseline="0" dirty="0"/>
              <a:t>Depression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5132165" y="1543050"/>
            <a:ext cx="2707481" cy="22860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None/>
            </a:pPr>
            <a:r>
              <a:rPr lang="en-US" sz="1350" dirty="0">
                <a:solidFill>
                  <a:schemeClr val="accent3"/>
                </a:solidFill>
                <a:latin typeface="Arial Black" panose="020B0A04020102020204" pitchFamily="34" charset="0"/>
              </a:rPr>
              <a:t>PERSISTANT</a:t>
            </a:r>
            <a:endParaRPr lang="en-US" sz="1200" dirty="0">
              <a:solidFill>
                <a:schemeClr val="accent3"/>
              </a:solidFill>
              <a:latin typeface="Arial Black" panose="020B0A040201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US" dirty="0">
                <a:solidFill>
                  <a:schemeClr val="accent1"/>
                </a:solidFill>
              </a:rPr>
              <a:t>Depression is one of the most common mental disorders in the U.S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1371600" y="1371600"/>
            <a:ext cx="3793690" cy="2293736"/>
            <a:chOff x="304800" y="2209800"/>
            <a:chExt cx="5058253" cy="3058314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4800" y="2209800"/>
              <a:ext cx="5058253" cy="3058314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>
            <a:xfrm>
              <a:off x="1074193" y="2717105"/>
              <a:ext cx="2971800" cy="16004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17.3 million</a:t>
              </a:r>
              <a:r>
                <a:rPr lang="en-US" sz="1350" dirty="0">
                  <a:solidFill>
                    <a:schemeClr val="bg1"/>
                  </a:solidFill>
                </a:rPr>
                <a:t> </a:t>
              </a:r>
            </a:p>
            <a:p>
              <a:r>
                <a:rPr lang="en-US" sz="1350" dirty="0">
                  <a:solidFill>
                    <a:schemeClr val="bg1"/>
                  </a:solidFill>
                </a:rPr>
                <a:t>adults in the US had at least one major depressive episode in the past year</a:t>
              </a:r>
              <a:r>
                <a:rPr lang="en-US" sz="1350" baseline="30000" dirty="0">
                  <a:solidFill>
                    <a:schemeClr val="bg1"/>
                  </a:solidFill>
                </a:rPr>
                <a:t>8</a:t>
              </a:r>
              <a:r>
                <a:rPr lang="en-US" sz="1350" dirty="0">
                  <a:solidFill>
                    <a:schemeClr val="bg1"/>
                  </a:solidFill>
                </a:rPr>
                <a:t>. </a:t>
              </a:r>
            </a:p>
          </p:txBody>
        </p:sp>
      </p:grpSp>
      <p:sp>
        <p:nvSpPr>
          <p:cNvPr id="11" name="Rectangle 10"/>
          <p:cNvSpPr/>
          <p:nvPr/>
        </p:nvSpPr>
        <p:spPr>
          <a:xfrm>
            <a:off x="5137151" y="2563189"/>
            <a:ext cx="2400300" cy="2286000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chemeClr val="accent1"/>
              </a:solidFill>
              <a:latin typeface="Arial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425873" y="4142613"/>
            <a:ext cx="1902852" cy="30008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r"/>
            <a:r>
              <a:rPr lang="en-US" sz="1350" b="1" dirty="0">
                <a:solidFill>
                  <a:schemeClr val="accent1"/>
                </a:solidFill>
                <a:latin typeface="Castellar" panose="020A0402060406010301" pitchFamily="18" charset="0"/>
              </a:rPr>
              <a:t>concentration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731396" y="2655884"/>
            <a:ext cx="1486403" cy="36933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Eras Bold ITC" panose="020B0907030504020204" pitchFamily="34" charset="0"/>
              </a:rPr>
              <a:t>Insomnia</a:t>
            </a:r>
          </a:p>
        </p:txBody>
      </p:sp>
      <p:sp>
        <p:nvSpPr>
          <p:cNvPr id="14" name="Rectangle 13"/>
          <p:cNvSpPr/>
          <p:nvPr/>
        </p:nvSpPr>
        <p:spPr>
          <a:xfrm rot="16200000">
            <a:off x="4750398" y="3473096"/>
            <a:ext cx="1804277" cy="5078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2700" b="1" dirty="0">
                <a:solidFill>
                  <a:schemeClr val="accent3"/>
                </a:solidFill>
                <a:latin typeface="Bodoni MT Condensed" panose="02070606080606020203" pitchFamily="18" charset="0"/>
              </a:rPr>
              <a:t>INTEREST</a:t>
            </a:r>
          </a:p>
        </p:txBody>
      </p:sp>
      <p:sp>
        <p:nvSpPr>
          <p:cNvPr id="15" name="Rectangle 14"/>
          <p:cNvSpPr/>
          <p:nvPr/>
        </p:nvSpPr>
        <p:spPr>
          <a:xfrm>
            <a:off x="5802000" y="1901483"/>
            <a:ext cx="1345195" cy="36933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Bodoni MT Black" panose="02070A03080606020203" pitchFamily="18" charset="0"/>
              </a:rPr>
              <a:t>Weight</a:t>
            </a:r>
          </a:p>
        </p:txBody>
      </p:sp>
      <p:sp>
        <p:nvSpPr>
          <p:cNvPr id="16" name="Rectangle 15"/>
          <p:cNvSpPr/>
          <p:nvPr/>
        </p:nvSpPr>
        <p:spPr>
          <a:xfrm rot="16200000">
            <a:off x="1061579" y="3635984"/>
            <a:ext cx="1104790" cy="507831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r>
              <a:rPr lang="en-US" sz="2700" b="1" dirty="0">
                <a:solidFill>
                  <a:srgbClr val="888B8D"/>
                </a:solidFill>
                <a:latin typeface="Ink Free" panose="03080402000500000000" pitchFamily="66" charset="0"/>
              </a:rPr>
              <a:t>empty</a:t>
            </a:r>
          </a:p>
        </p:txBody>
      </p:sp>
      <p:sp>
        <p:nvSpPr>
          <p:cNvPr id="17" name="Rectangle 16"/>
          <p:cNvSpPr/>
          <p:nvPr/>
        </p:nvSpPr>
        <p:spPr>
          <a:xfrm rot="16200000">
            <a:off x="6667741" y="1889780"/>
            <a:ext cx="1245854" cy="507831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r>
              <a:rPr lang="en-US" sz="2700" b="1" dirty="0">
                <a:solidFill>
                  <a:schemeClr val="accent1"/>
                </a:solidFill>
                <a:latin typeface="Bahnschrift SemiBold SemiConden" panose="020B0502040204020203" pitchFamily="34" charset="0"/>
              </a:rPr>
              <a:t>ENERGY</a:t>
            </a:r>
            <a:endParaRPr lang="en-US" sz="1500" b="1" dirty="0">
              <a:solidFill>
                <a:schemeClr val="accent1"/>
              </a:solidFill>
              <a:latin typeface="Bahnschrift SemiBold SemiConden" panose="020B0502040204020203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057400" y="3645204"/>
            <a:ext cx="1345195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2"/>
                </a:solidFill>
                <a:latin typeface="Brush Script MT" panose="03060802040406070304" pitchFamily="66" charset="0"/>
              </a:rPr>
              <a:t>Pain</a:t>
            </a:r>
            <a:endParaRPr lang="en-US" b="1" dirty="0">
              <a:solidFill>
                <a:schemeClr val="accent2"/>
              </a:solidFill>
              <a:latin typeface="Brush Script MT" panose="03060802040406070304" pitchFamily="66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309624" y="4255013"/>
            <a:ext cx="12396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accent5"/>
                </a:solidFill>
                <a:latin typeface="Rockwell" panose="02060603020205020403" pitchFamily="18" charset="0"/>
              </a:rPr>
              <a:t>digestion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262924" y="3083188"/>
            <a:ext cx="1056700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50" dirty="0">
                <a:solidFill>
                  <a:schemeClr val="accent5"/>
                </a:solidFill>
                <a:latin typeface="Stencil" panose="040409050D0802020404" pitchFamily="82" charset="0"/>
              </a:rPr>
              <a:t>decision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6012076" y="3816432"/>
            <a:ext cx="130356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solidFill>
                  <a:schemeClr val="accent1"/>
                </a:solidFill>
                <a:latin typeface="Tempus Sans ITC" panose="04020404030D07020202" pitchFamily="82" charset="0"/>
              </a:rPr>
              <a:t>Appetite</a:t>
            </a:r>
            <a:endParaRPr lang="en-US" sz="1350" b="1" dirty="0">
              <a:solidFill>
                <a:schemeClr val="accent1"/>
              </a:solidFill>
              <a:latin typeface="Tempus Sans ITC" panose="04020404030D07020202" pitchFamily="82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033134" y="2427160"/>
            <a:ext cx="9541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latin typeface="Lucida Calligraphy" panose="03010101010101010101" pitchFamily="66" charset="0"/>
              </a:rPr>
              <a:t>death 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268445" y="3643307"/>
            <a:ext cx="1146468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100" dirty="0">
                <a:solidFill>
                  <a:schemeClr val="accent2"/>
                </a:solidFill>
                <a:latin typeface="Cooper Black" panose="0208090404030B020404" pitchFamily="18" charset="0"/>
              </a:rPr>
              <a:t>suicide</a:t>
            </a:r>
            <a:endParaRPr lang="en-US" sz="1350" dirty="0">
              <a:solidFill>
                <a:schemeClr val="accent2"/>
              </a:solidFill>
              <a:latin typeface="Cooper Black" panose="0208090404030B020404" pitchFamily="18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572000" y="3086100"/>
            <a:ext cx="1479892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100" dirty="0">
                <a:latin typeface="OCR A Extended" panose="02010509020102010303" pitchFamily="50" charset="0"/>
              </a:rPr>
              <a:t>Hopeless</a:t>
            </a:r>
            <a:endParaRPr lang="en-US" sz="1350" dirty="0">
              <a:latin typeface="OCR A Extended" panose="02010509020102010303" pitchFamily="50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98EA96-F3FE-4F84-B8E9-D4B723326C96}"/>
              </a:ext>
            </a:extLst>
          </p:cNvPr>
          <p:cNvSpPr/>
          <p:nvPr/>
        </p:nvSpPr>
        <p:spPr>
          <a:xfrm>
            <a:off x="1485900" y="4629150"/>
            <a:ext cx="6515101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/>
              <a:t>8.  National Institute of Mental Health (NIMH); Prevalence of Major Depressive Episode Among Adults; February 2019; </a:t>
            </a:r>
            <a:r>
              <a:rPr lang="en-US" sz="600" dirty="0">
                <a:hlinkClick r:id="rId4"/>
              </a:rPr>
              <a:t>https://www.nimh.nih.gov/health/statistics/major-depression.shtml</a:t>
            </a:r>
            <a:endParaRPr lang="en-US" sz="6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3D381D-435F-4C94-886D-F2CC119B9A7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5257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TextBox 126"/>
          <p:cNvSpPr txBox="1"/>
          <p:nvPr/>
        </p:nvSpPr>
        <p:spPr>
          <a:xfrm>
            <a:off x="1143000" y="1681303"/>
            <a:ext cx="6858000" cy="466281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100000">
                <a:schemeClr val="accent5"/>
              </a:gs>
            </a:gsLst>
            <a:path path="circle">
              <a:fillToRect t="100000" r="100000"/>
            </a:path>
            <a:tileRect l="-100000" b="-100000"/>
          </a:gradFill>
        </p:spPr>
        <p:txBody>
          <a:bodyPr vert="horz" wrap="square" lIns="1303020" rtlCol="0" anchor="ctr" anchorCtr="0">
            <a:spAutoFit/>
          </a:bodyPr>
          <a:lstStyle/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en-US" sz="27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Grief…</a:t>
            </a:r>
            <a:endParaRPr lang="en-US" sz="105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94944" y="377190"/>
            <a:ext cx="7991856" cy="473202"/>
          </a:xfrm>
        </p:spPr>
        <p:txBody>
          <a:bodyPr/>
          <a:lstStyle/>
          <a:p>
            <a:r>
              <a:rPr lang="en-US" dirty="0"/>
              <a:t>Grief and los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US" dirty="0">
                <a:solidFill>
                  <a:schemeClr val="accent1"/>
                </a:solidFill>
              </a:rPr>
              <a:t>We often associate grief with loss of life, but grief can come from the loss of anything</a:t>
            </a:r>
          </a:p>
        </p:txBody>
      </p:sp>
      <p:graphicFrame>
        <p:nvGraphicFramePr>
          <p:cNvPr id="58" name="Diagram 57"/>
          <p:cNvGraphicFramePr/>
          <p:nvPr/>
        </p:nvGraphicFramePr>
        <p:xfrm>
          <a:off x="6435237" y="1352520"/>
          <a:ext cx="818398" cy="3378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1" name="Rectangle 120"/>
          <p:cNvSpPr/>
          <p:nvPr/>
        </p:nvSpPr>
        <p:spPr>
          <a:xfrm>
            <a:off x="2106129" y="2214915"/>
            <a:ext cx="5437672" cy="2468979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txBody>
          <a:bodyPr rot="0" spcFirstLastPara="0" vertOverflow="overflow" horzOverflow="overflow" vert="horz" wrap="square" lIns="342900" tIns="34290" rIns="34290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8588" indent="-128588" defTabSz="1097063"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500" kern="0" dirty="0">
                <a:gradFill flip="none" rotWithShape="1">
                  <a:gsLst>
                    <a:gs pos="0">
                      <a:srgbClr val="63666A"/>
                    </a:gs>
                    <a:gs pos="100000">
                      <a:srgbClr val="55565A"/>
                    </a:gs>
                  </a:gsLst>
                  <a:lin ang="0" scaled="1"/>
                  <a:tileRect/>
                </a:gradFill>
              </a:rPr>
              <a:t>can be experienced as feelings of shock, sadness, anger, and confusion.</a:t>
            </a:r>
          </a:p>
          <a:p>
            <a:pPr marL="128588" indent="-128588" defTabSz="1097063"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500" kern="0" dirty="0">
                <a:gradFill flip="none" rotWithShape="1">
                  <a:gsLst>
                    <a:gs pos="0">
                      <a:srgbClr val="63666A"/>
                    </a:gs>
                    <a:gs pos="100000">
                      <a:srgbClr val="55565A"/>
                    </a:gs>
                  </a:gsLst>
                  <a:lin ang="0" scaled="1"/>
                  <a:tileRect/>
                </a:gradFill>
              </a:rPr>
              <a:t>can make people feel overwhelmed, lose interest in activities they used to enjoy, sleep less or more, or have changes in their appetite. </a:t>
            </a:r>
          </a:p>
          <a:p>
            <a:pPr marL="128588" indent="-128588" defTabSz="1097063"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500" kern="0" dirty="0">
                <a:gradFill flip="none" rotWithShape="1">
                  <a:gsLst>
                    <a:gs pos="0">
                      <a:srgbClr val="63666A"/>
                    </a:gs>
                    <a:gs pos="100000">
                      <a:srgbClr val="55565A"/>
                    </a:gs>
                  </a:gsLst>
                  <a:lin ang="0" scaled="1"/>
                  <a:tileRect/>
                </a:gradFill>
              </a:rPr>
              <a:t>lives on a spectrum and it may look different for each of us.</a:t>
            </a:r>
          </a:p>
          <a:p>
            <a:pPr marL="128588" indent="-128588" defTabSz="1097063">
              <a:spcBef>
                <a:spcPts val="450"/>
              </a:spcBef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500" kern="0" dirty="0">
                <a:gradFill flip="none" rotWithShape="1">
                  <a:gsLst>
                    <a:gs pos="0">
                      <a:srgbClr val="63666A"/>
                    </a:gs>
                    <a:gs pos="100000">
                      <a:srgbClr val="55565A"/>
                    </a:gs>
                  </a:gsLst>
                  <a:lin ang="0" scaled="1"/>
                  <a:tileRect/>
                </a:gradFill>
              </a:rPr>
              <a:t>is not on a schedule. It takes time and everyone’s timeline is different.</a:t>
            </a:r>
          </a:p>
        </p:txBody>
      </p:sp>
      <p:grpSp>
        <p:nvGrpSpPr>
          <p:cNvPr id="122" name="Group 121"/>
          <p:cNvGrpSpPr/>
          <p:nvPr/>
        </p:nvGrpSpPr>
        <p:grpSpPr>
          <a:xfrm>
            <a:off x="1579571" y="1600200"/>
            <a:ext cx="614715" cy="614715"/>
            <a:chOff x="7279804" y="2503028"/>
            <a:chExt cx="819620" cy="819620"/>
          </a:xfrm>
        </p:grpSpPr>
        <p:sp>
          <p:nvSpPr>
            <p:cNvPr id="124" name="Oval 123"/>
            <p:cNvSpPr/>
            <p:nvPr/>
          </p:nvSpPr>
          <p:spPr>
            <a:xfrm>
              <a:off x="7279804" y="2503028"/>
              <a:ext cx="819620" cy="819620"/>
            </a:xfrm>
            <a:prstGeom prst="ellipse">
              <a:avLst/>
            </a:prstGeom>
            <a:solidFill>
              <a:schemeClr val="accent1"/>
            </a:solidFill>
            <a:ln w="38100" cap="flat" cmpd="sng" algn="ctr">
              <a:solidFill>
                <a:schemeClr val="accent5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en-US" sz="1350" kern="0" dirty="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sp>
          <p:nvSpPr>
            <p:cNvPr id="125" name="Freeform 76"/>
            <p:cNvSpPr>
              <a:spLocks noEditPoints="1"/>
            </p:cNvSpPr>
            <p:nvPr/>
          </p:nvSpPr>
          <p:spPr bwMode="auto">
            <a:xfrm flipH="1">
              <a:off x="7497563" y="2731386"/>
              <a:ext cx="370287" cy="373564"/>
            </a:xfrm>
            <a:custGeom>
              <a:avLst/>
              <a:gdLst>
                <a:gd name="T0" fmla="*/ 7 w 254"/>
                <a:gd name="T1" fmla="*/ 256 h 256"/>
                <a:gd name="T2" fmla="*/ 0 w 254"/>
                <a:gd name="T3" fmla="*/ 250 h 256"/>
                <a:gd name="T4" fmla="*/ 65 w 254"/>
                <a:gd name="T5" fmla="*/ 162 h 256"/>
                <a:gd name="T6" fmla="*/ 55 w 254"/>
                <a:gd name="T7" fmla="*/ 152 h 256"/>
                <a:gd name="T8" fmla="*/ 21 w 254"/>
                <a:gd name="T9" fmla="*/ 118 h 256"/>
                <a:gd name="T10" fmla="*/ 14 w 254"/>
                <a:gd name="T11" fmla="*/ 94 h 256"/>
                <a:gd name="T12" fmla="*/ 35 w 254"/>
                <a:gd name="T13" fmla="*/ 82 h 256"/>
                <a:gd name="T14" fmla="*/ 60 w 254"/>
                <a:gd name="T15" fmla="*/ 78 h 256"/>
                <a:gd name="T16" fmla="*/ 89 w 254"/>
                <a:gd name="T17" fmla="*/ 73 h 256"/>
                <a:gd name="T18" fmla="*/ 149 w 254"/>
                <a:gd name="T19" fmla="*/ 24 h 256"/>
                <a:gd name="T20" fmla="*/ 157 w 254"/>
                <a:gd name="T21" fmla="*/ 11 h 256"/>
                <a:gd name="T22" fmla="*/ 161 w 254"/>
                <a:gd name="T23" fmla="*/ 5 h 256"/>
                <a:gd name="T24" fmla="*/ 161 w 254"/>
                <a:gd name="T25" fmla="*/ 4 h 256"/>
                <a:gd name="T26" fmla="*/ 171 w 254"/>
                <a:gd name="T27" fmla="*/ 0 h 256"/>
                <a:gd name="T28" fmla="*/ 181 w 254"/>
                <a:gd name="T29" fmla="*/ 4 h 256"/>
                <a:gd name="T30" fmla="*/ 200 w 254"/>
                <a:gd name="T31" fmla="*/ 23 h 256"/>
                <a:gd name="T32" fmla="*/ 242 w 254"/>
                <a:gd name="T33" fmla="*/ 66 h 256"/>
                <a:gd name="T34" fmla="*/ 253 w 254"/>
                <a:gd name="T35" fmla="*/ 89 h 256"/>
                <a:gd name="T36" fmla="*/ 236 w 254"/>
                <a:gd name="T37" fmla="*/ 106 h 256"/>
                <a:gd name="T38" fmla="*/ 177 w 254"/>
                <a:gd name="T39" fmla="*/ 198 h 256"/>
                <a:gd name="T40" fmla="*/ 176 w 254"/>
                <a:gd name="T41" fmla="*/ 207 h 256"/>
                <a:gd name="T42" fmla="*/ 175 w 254"/>
                <a:gd name="T43" fmla="*/ 223 h 256"/>
                <a:gd name="T44" fmla="*/ 162 w 254"/>
                <a:gd name="T45" fmla="*/ 242 h 256"/>
                <a:gd name="T46" fmla="*/ 157 w 254"/>
                <a:gd name="T47" fmla="*/ 243 h 256"/>
                <a:gd name="T48" fmla="*/ 139 w 254"/>
                <a:gd name="T49" fmla="*/ 236 h 256"/>
                <a:gd name="T50" fmla="*/ 105 w 254"/>
                <a:gd name="T51" fmla="*/ 202 h 256"/>
                <a:gd name="T52" fmla="*/ 95 w 254"/>
                <a:gd name="T53" fmla="*/ 191 h 256"/>
                <a:gd name="T54" fmla="*/ 7 w 254"/>
                <a:gd name="T55" fmla="*/ 256 h 256"/>
                <a:gd name="T56" fmla="*/ 167 w 254"/>
                <a:gd name="T57" fmla="*/ 10 h 256"/>
                <a:gd name="T58" fmla="*/ 164 w 254"/>
                <a:gd name="T59" fmla="*/ 15 h 256"/>
                <a:gd name="T60" fmla="*/ 156 w 254"/>
                <a:gd name="T61" fmla="*/ 28 h 256"/>
                <a:gd name="T62" fmla="*/ 91 w 254"/>
                <a:gd name="T63" fmla="*/ 81 h 256"/>
                <a:gd name="T64" fmla="*/ 61 w 254"/>
                <a:gd name="T65" fmla="*/ 86 h 256"/>
                <a:gd name="T66" fmla="*/ 37 w 254"/>
                <a:gd name="T67" fmla="*/ 90 h 256"/>
                <a:gd name="T68" fmla="*/ 22 w 254"/>
                <a:gd name="T69" fmla="*/ 97 h 256"/>
                <a:gd name="T70" fmla="*/ 27 w 254"/>
                <a:gd name="T71" fmla="*/ 113 h 256"/>
                <a:gd name="T72" fmla="*/ 60 w 254"/>
                <a:gd name="T73" fmla="*/ 146 h 256"/>
                <a:gd name="T74" fmla="*/ 73 w 254"/>
                <a:gd name="T75" fmla="*/ 159 h 256"/>
                <a:gd name="T76" fmla="*/ 76 w 254"/>
                <a:gd name="T77" fmla="*/ 161 h 256"/>
                <a:gd name="T78" fmla="*/ 19 w 254"/>
                <a:gd name="T79" fmla="*/ 237 h 256"/>
                <a:gd name="T80" fmla="*/ 95 w 254"/>
                <a:gd name="T81" fmla="*/ 180 h 256"/>
                <a:gd name="T82" fmla="*/ 98 w 254"/>
                <a:gd name="T83" fmla="*/ 183 h 256"/>
                <a:gd name="T84" fmla="*/ 111 w 254"/>
                <a:gd name="T85" fmla="*/ 197 h 256"/>
                <a:gd name="T86" fmla="*/ 145 w 254"/>
                <a:gd name="T87" fmla="*/ 230 h 256"/>
                <a:gd name="T88" fmla="*/ 157 w 254"/>
                <a:gd name="T89" fmla="*/ 235 h 256"/>
                <a:gd name="T90" fmla="*/ 159 w 254"/>
                <a:gd name="T91" fmla="*/ 235 h 256"/>
                <a:gd name="T92" fmla="*/ 167 w 254"/>
                <a:gd name="T93" fmla="*/ 221 h 256"/>
                <a:gd name="T94" fmla="*/ 168 w 254"/>
                <a:gd name="T95" fmla="*/ 207 h 256"/>
                <a:gd name="T96" fmla="*/ 169 w 254"/>
                <a:gd name="T97" fmla="*/ 197 h 256"/>
                <a:gd name="T98" fmla="*/ 233 w 254"/>
                <a:gd name="T99" fmla="*/ 99 h 256"/>
                <a:gd name="T100" fmla="*/ 245 w 254"/>
                <a:gd name="T101" fmla="*/ 88 h 256"/>
                <a:gd name="T102" fmla="*/ 236 w 254"/>
                <a:gd name="T103" fmla="*/ 72 h 256"/>
                <a:gd name="T104" fmla="*/ 194 w 254"/>
                <a:gd name="T105" fmla="*/ 29 h 256"/>
                <a:gd name="T106" fmla="*/ 176 w 254"/>
                <a:gd name="T107" fmla="*/ 10 h 256"/>
                <a:gd name="T108" fmla="*/ 171 w 254"/>
                <a:gd name="T109" fmla="*/ 8 h 256"/>
                <a:gd name="T110" fmla="*/ 167 w 254"/>
                <a:gd name="T111" fmla="*/ 1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4" h="256">
                  <a:moveTo>
                    <a:pt x="7" y="256"/>
                  </a:moveTo>
                  <a:cubicBezTo>
                    <a:pt x="0" y="250"/>
                    <a:pt x="0" y="250"/>
                    <a:pt x="0" y="250"/>
                  </a:cubicBezTo>
                  <a:cubicBezTo>
                    <a:pt x="65" y="162"/>
                    <a:pt x="65" y="162"/>
                    <a:pt x="65" y="162"/>
                  </a:cubicBezTo>
                  <a:cubicBezTo>
                    <a:pt x="62" y="159"/>
                    <a:pt x="58" y="155"/>
                    <a:pt x="55" y="152"/>
                  </a:cubicBezTo>
                  <a:cubicBezTo>
                    <a:pt x="44" y="141"/>
                    <a:pt x="32" y="130"/>
                    <a:pt x="21" y="118"/>
                  </a:cubicBezTo>
                  <a:cubicBezTo>
                    <a:pt x="17" y="113"/>
                    <a:pt x="11" y="102"/>
                    <a:pt x="14" y="94"/>
                  </a:cubicBezTo>
                  <a:cubicBezTo>
                    <a:pt x="17" y="86"/>
                    <a:pt x="32" y="83"/>
                    <a:pt x="35" y="82"/>
                  </a:cubicBezTo>
                  <a:cubicBezTo>
                    <a:pt x="43" y="80"/>
                    <a:pt x="52" y="79"/>
                    <a:pt x="60" y="78"/>
                  </a:cubicBezTo>
                  <a:cubicBezTo>
                    <a:pt x="70" y="77"/>
                    <a:pt x="80" y="75"/>
                    <a:pt x="89" y="73"/>
                  </a:cubicBezTo>
                  <a:cubicBezTo>
                    <a:pt x="115" y="67"/>
                    <a:pt x="135" y="50"/>
                    <a:pt x="149" y="24"/>
                  </a:cubicBezTo>
                  <a:cubicBezTo>
                    <a:pt x="151" y="20"/>
                    <a:pt x="154" y="15"/>
                    <a:pt x="157" y="11"/>
                  </a:cubicBezTo>
                  <a:cubicBezTo>
                    <a:pt x="158" y="9"/>
                    <a:pt x="160" y="7"/>
                    <a:pt x="161" y="5"/>
                  </a:cubicBezTo>
                  <a:cubicBezTo>
                    <a:pt x="161" y="4"/>
                    <a:pt x="161" y="4"/>
                    <a:pt x="161" y="4"/>
                  </a:cubicBezTo>
                  <a:cubicBezTo>
                    <a:pt x="162" y="4"/>
                    <a:pt x="166" y="0"/>
                    <a:pt x="171" y="0"/>
                  </a:cubicBezTo>
                  <a:cubicBezTo>
                    <a:pt x="175" y="0"/>
                    <a:pt x="178" y="1"/>
                    <a:pt x="181" y="4"/>
                  </a:cubicBezTo>
                  <a:cubicBezTo>
                    <a:pt x="200" y="23"/>
                    <a:pt x="200" y="23"/>
                    <a:pt x="200" y="23"/>
                  </a:cubicBezTo>
                  <a:cubicBezTo>
                    <a:pt x="214" y="38"/>
                    <a:pt x="228" y="52"/>
                    <a:pt x="242" y="66"/>
                  </a:cubicBezTo>
                  <a:cubicBezTo>
                    <a:pt x="251" y="75"/>
                    <a:pt x="254" y="82"/>
                    <a:pt x="253" y="89"/>
                  </a:cubicBezTo>
                  <a:cubicBezTo>
                    <a:pt x="252" y="96"/>
                    <a:pt x="246" y="101"/>
                    <a:pt x="236" y="106"/>
                  </a:cubicBezTo>
                  <a:cubicBezTo>
                    <a:pt x="201" y="122"/>
                    <a:pt x="182" y="152"/>
                    <a:pt x="177" y="198"/>
                  </a:cubicBezTo>
                  <a:cubicBezTo>
                    <a:pt x="176" y="201"/>
                    <a:pt x="176" y="204"/>
                    <a:pt x="176" y="207"/>
                  </a:cubicBezTo>
                  <a:cubicBezTo>
                    <a:pt x="176" y="212"/>
                    <a:pt x="176" y="218"/>
                    <a:pt x="175" y="223"/>
                  </a:cubicBezTo>
                  <a:cubicBezTo>
                    <a:pt x="174" y="227"/>
                    <a:pt x="170" y="239"/>
                    <a:pt x="162" y="242"/>
                  </a:cubicBezTo>
                  <a:cubicBezTo>
                    <a:pt x="161" y="243"/>
                    <a:pt x="159" y="243"/>
                    <a:pt x="157" y="243"/>
                  </a:cubicBezTo>
                  <a:cubicBezTo>
                    <a:pt x="151" y="243"/>
                    <a:pt x="144" y="240"/>
                    <a:pt x="139" y="236"/>
                  </a:cubicBezTo>
                  <a:cubicBezTo>
                    <a:pt x="128" y="225"/>
                    <a:pt x="117" y="214"/>
                    <a:pt x="105" y="202"/>
                  </a:cubicBezTo>
                  <a:cubicBezTo>
                    <a:pt x="102" y="198"/>
                    <a:pt x="98" y="195"/>
                    <a:pt x="95" y="191"/>
                  </a:cubicBezTo>
                  <a:lnTo>
                    <a:pt x="7" y="256"/>
                  </a:lnTo>
                  <a:close/>
                  <a:moveTo>
                    <a:pt x="167" y="10"/>
                  </a:moveTo>
                  <a:cubicBezTo>
                    <a:pt x="166" y="11"/>
                    <a:pt x="165" y="13"/>
                    <a:pt x="164" y="15"/>
                  </a:cubicBezTo>
                  <a:cubicBezTo>
                    <a:pt x="161" y="19"/>
                    <a:pt x="158" y="24"/>
                    <a:pt x="156" y="28"/>
                  </a:cubicBezTo>
                  <a:cubicBezTo>
                    <a:pt x="141" y="56"/>
                    <a:pt x="119" y="74"/>
                    <a:pt x="91" y="81"/>
                  </a:cubicBezTo>
                  <a:cubicBezTo>
                    <a:pt x="81" y="83"/>
                    <a:pt x="71" y="84"/>
                    <a:pt x="61" y="86"/>
                  </a:cubicBezTo>
                  <a:cubicBezTo>
                    <a:pt x="53" y="87"/>
                    <a:pt x="45" y="88"/>
                    <a:pt x="37" y="90"/>
                  </a:cubicBezTo>
                  <a:cubicBezTo>
                    <a:pt x="29" y="91"/>
                    <a:pt x="22" y="95"/>
                    <a:pt x="22" y="97"/>
                  </a:cubicBezTo>
                  <a:cubicBezTo>
                    <a:pt x="20" y="100"/>
                    <a:pt x="23" y="108"/>
                    <a:pt x="27" y="113"/>
                  </a:cubicBezTo>
                  <a:cubicBezTo>
                    <a:pt x="38" y="124"/>
                    <a:pt x="49" y="135"/>
                    <a:pt x="60" y="146"/>
                  </a:cubicBezTo>
                  <a:cubicBezTo>
                    <a:pt x="65" y="150"/>
                    <a:pt x="69" y="155"/>
                    <a:pt x="73" y="159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19" y="237"/>
                    <a:pt x="19" y="237"/>
                    <a:pt x="19" y="237"/>
                  </a:cubicBezTo>
                  <a:cubicBezTo>
                    <a:pt x="95" y="180"/>
                    <a:pt x="95" y="180"/>
                    <a:pt x="95" y="180"/>
                  </a:cubicBezTo>
                  <a:cubicBezTo>
                    <a:pt x="98" y="183"/>
                    <a:pt x="98" y="183"/>
                    <a:pt x="98" y="183"/>
                  </a:cubicBezTo>
                  <a:cubicBezTo>
                    <a:pt x="102" y="187"/>
                    <a:pt x="107" y="192"/>
                    <a:pt x="111" y="197"/>
                  </a:cubicBezTo>
                  <a:cubicBezTo>
                    <a:pt x="123" y="208"/>
                    <a:pt x="133" y="220"/>
                    <a:pt x="145" y="230"/>
                  </a:cubicBezTo>
                  <a:cubicBezTo>
                    <a:pt x="148" y="233"/>
                    <a:pt x="153" y="235"/>
                    <a:pt x="157" y="235"/>
                  </a:cubicBezTo>
                  <a:cubicBezTo>
                    <a:pt x="158" y="235"/>
                    <a:pt x="159" y="235"/>
                    <a:pt x="159" y="235"/>
                  </a:cubicBezTo>
                  <a:cubicBezTo>
                    <a:pt x="162" y="234"/>
                    <a:pt x="165" y="228"/>
                    <a:pt x="167" y="221"/>
                  </a:cubicBezTo>
                  <a:cubicBezTo>
                    <a:pt x="168" y="216"/>
                    <a:pt x="168" y="212"/>
                    <a:pt x="168" y="207"/>
                  </a:cubicBezTo>
                  <a:cubicBezTo>
                    <a:pt x="168" y="204"/>
                    <a:pt x="168" y="200"/>
                    <a:pt x="169" y="197"/>
                  </a:cubicBezTo>
                  <a:cubicBezTo>
                    <a:pt x="175" y="148"/>
                    <a:pt x="195" y="116"/>
                    <a:pt x="233" y="99"/>
                  </a:cubicBezTo>
                  <a:cubicBezTo>
                    <a:pt x="240" y="95"/>
                    <a:pt x="244" y="91"/>
                    <a:pt x="245" y="88"/>
                  </a:cubicBezTo>
                  <a:cubicBezTo>
                    <a:pt x="246" y="84"/>
                    <a:pt x="243" y="79"/>
                    <a:pt x="236" y="72"/>
                  </a:cubicBezTo>
                  <a:cubicBezTo>
                    <a:pt x="222" y="58"/>
                    <a:pt x="208" y="43"/>
                    <a:pt x="194" y="29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75" y="9"/>
                    <a:pt x="173" y="8"/>
                    <a:pt x="171" y="8"/>
                  </a:cubicBezTo>
                  <a:cubicBezTo>
                    <a:pt x="169" y="8"/>
                    <a:pt x="168" y="9"/>
                    <a:pt x="167" y="1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80FC2C-D16C-4DAC-946A-D491785F06E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7CA7E87-410D-4887-AABD-1ABCEA8A29C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0619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CD_LAYOUT_VALID_AREA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HG">
  <a:themeElements>
    <a:clrScheme name="UGH Theme colors">
      <a:dk1>
        <a:srgbClr val="424242"/>
      </a:dk1>
      <a:lt1>
        <a:srgbClr val="FFFFFF"/>
      </a:lt1>
      <a:dk2>
        <a:srgbClr val="424242"/>
      </a:dk2>
      <a:lt2>
        <a:srgbClr val="DADADA"/>
      </a:lt2>
      <a:accent1>
        <a:srgbClr val="003C71"/>
      </a:accent1>
      <a:accent2>
        <a:srgbClr val="0066F5"/>
      </a:accent2>
      <a:accent3>
        <a:srgbClr val="009104"/>
      </a:accent3>
      <a:accent4>
        <a:srgbClr val="AACE15"/>
      </a:accent4>
      <a:accent5>
        <a:srgbClr val="FCAE00"/>
      </a:accent5>
      <a:accent6>
        <a:srgbClr val="FFDA03"/>
      </a:accent6>
      <a:hlink>
        <a:srgbClr val="0066F5"/>
      </a:hlink>
      <a:folHlink>
        <a:srgbClr val="0066F5"/>
      </a:folHlink>
    </a:clrScheme>
    <a:fontScheme name="UnitedHealth 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HG_BrandRefresh_PPT__opt220_nophotos_16-9-MV" id="{115E492A-1337-476D-B556-3D627CFA40B0}" vid="{CBC53A3B-B7F6-435C-906E-313CA276B43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6C84DC1AF0AA74E86B30FB83D58FFAC" ma:contentTypeVersion="54" ma:contentTypeDescription="Create a new document." ma:contentTypeScope="" ma:versionID="314e308b4c6a41e79964e0c3aa488eec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962b37e1f0a60323fad4d4a885905895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4.xml><?xml version="1.0" encoding="utf-8"?>
<?mso-contentType ?>
<spe:Receivers xmlns:spe="http://schemas.microsoft.com/sharepoint/events">
  <Receiver>
    <Name/>
    <Synchronization>Asynchronous</Synchronization>
    <Type>10003</Type>
    <SequenceNumber>10000</SequenceNumber>
    <Url/>
    <Assembly>Optum_EPI_Common, Version=1.0.0.0, Culture=neutral, PublicKeyToken=f1423e9e7790b317</Assembly>
    <Class>Optum_EPI_Common.Event_Receivers.Auditing.AuditingEvents</Class>
    <Data/>
    <Filter/>
  </Receiver>
  <Receiver>
    <Name/>
    <Synchronization>Asynchronous</Synchronization>
    <Type>10002</Type>
    <SequenceNumber>10000</SequenceNumber>
    <Url/>
    <Assembly>Optum_EPI_Common, Version=1.0.0.0, Culture=neutral, PublicKeyToken=f1423e9e7790b317</Assembly>
    <Class>Optum_EPI_Common.Event_Receivers.Auditing.AuditingEvents</Class>
    <Data/>
    <Filter/>
  </Receiver>
</spe:Receivers>
</file>

<file path=customXml/itemProps1.xml><?xml version="1.0" encoding="utf-8"?>
<ds:datastoreItem xmlns:ds="http://schemas.openxmlformats.org/officeDocument/2006/customXml" ds:itemID="{F4AFA080-7381-4A49-A180-D43F226DE74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A43990F-E9FA-4886-8C58-1CAB0C74C1F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C8E744A-D351-4BA2-B694-CBBBF8BF0952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microsoft.com/sharepoint/v3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D92D7823-5B6D-40C8-A92E-8E036BE39C66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HG_BrandRefresh_PPT__opt220_nophotos_16-9-MV</Template>
  <TotalTime>2106</TotalTime>
  <Words>1515</Words>
  <Application>Microsoft Office PowerPoint</Application>
  <PresentationFormat>On-screen Show (16:9)</PresentationFormat>
  <Paragraphs>208</Paragraphs>
  <Slides>13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33" baseType="lpstr">
      <vt:lpstr>Arial</vt:lpstr>
      <vt:lpstr>Arial Black</vt:lpstr>
      <vt:lpstr>Bahnschrift SemiBold SemiConden</vt:lpstr>
      <vt:lpstr>Bodoni MT Black</vt:lpstr>
      <vt:lpstr>Bodoni MT Condensed</vt:lpstr>
      <vt:lpstr>Brush Script MT</vt:lpstr>
      <vt:lpstr>Calibri</vt:lpstr>
      <vt:lpstr>Castellar</vt:lpstr>
      <vt:lpstr>Cooper Black</vt:lpstr>
      <vt:lpstr>Courier New</vt:lpstr>
      <vt:lpstr>Eras Bold ITC</vt:lpstr>
      <vt:lpstr>Ink Free</vt:lpstr>
      <vt:lpstr>Lucida Calligraphy</vt:lpstr>
      <vt:lpstr>OCR A Extended</vt:lpstr>
      <vt:lpstr>Rockwell</vt:lpstr>
      <vt:lpstr>Stencil</vt:lpstr>
      <vt:lpstr>Tempus Sans ITC</vt:lpstr>
      <vt:lpstr>Wingdings</vt:lpstr>
      <vt:lpstr>UHG</vt:lpstr>
      <vt:lpstr>think-cell Slide</vt:lpstr>
      <vt:lpstr>PowerPoint Presentation</vt:lpstr>
      <vt:lpstr>Tammy Huf, BSN, MBA, RN| United Health Group Director of Client Strategy, Optum Behavioral Health</vt:lpstr>
      <vt:lpstr>The behavioral health challenge in the U.S.</vt:lpstr>
      <vt:lpstr>Effects of challenges on our mental health</vt:lpstr>
      <vt:lpstr>Social isolation</vt:lpstr>
      <vt:lpstr>Stress</vt:lpstr>
      <vt:lpstr>Anxiety </vt:lpstr>
      <vt:lpstr>Depression</vt:lpstr>
      <vt:lpstr>Grief and loss</vt:lpstr>
      <vt:lpstr>Self Care Strategies</vt:lpstr>
      <vt:lpstr>What can you do for others?</vt:lpstr>
      <vt:lpstr>Resources</vt:lpstr>
      <vt:lpstr>Thank You</vt:lpstr>
    </vt:vector>
  </TitlesOfParts>
  <Company>UnitedHealth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lissa Viens</dc:creator>
  <cp:lastModifiedBy>Huf, Tamara L</cp:lastModifiedBy>
  <cp:revision>51</cp:revision>
  <dcterms:created xsi:type="dcterms:W3CDTF">2017-06-27T01:28:41Z</dcterms:created>
  <dcterms:modified xsi:type="dcterms:W3CDTF">2021-05-12T20:3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C84DC1AF0AA74E86B30FB83D58FFAC</vt:lpwstr>
  </property>
</Properties>
</file>